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6" r:id="rId4"/>
    <p:sldMasterId id="2147483672" r:id="rId5"/>
    <p:sldMasterId id="2147483682" r:id="rId6"/>
    <p:sldMasterId id="2147483687" r:id="rId7"/>
    <p:sldMasterId id="2147483700" r:id="rId8"/>
    <p:sldMasterId id="2147483706" r:id="rId9"/>
    <p:sldMasterId id="2147483719" r:id="rId10"/>
  </p:sldMasterIdLst>
  <p:notesMasterIdLst>
    <p:notesMasterId r:id="rId16"/>
  </p:notesMasterIdLst>
  <p:handoutMasterIdLst>
    <p:handoutMasterId r:id="rId17"/>
  </p:handoutMasterIdLst>
  <p:sldIdLst>
    <p:sldId id="521" r:id="rId11"/>
    <p:sldId id="1434" r:id="rId12"/>
    <p:sldId id="1429" r:id="rId13"/>
    <p:sldId id="1433" r:id="rId14"/>
    <p:sldId id="334" r:id="rId15"/>
  </p:sldIdLst>
  <p:sldSz cx="9144000" cy="5143500" type="screen16x9"/>
  <p:notesSz cx="6858000" cy="9144000"/>
  <p:custDataLst>
    <p:tags r:id="rId18"/>
  </p:custDataLst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Runway 2021" id="{2FEBE7B8-D3CB-4985-B480-F4B1945174CE}">
          <p14:sldIdLst>
            <p14:sldId id="521"/>
            <p14:sldId id="1434"/>
            <p14:sldId id="1429"/>
            <p14:sldId id="1433"/>
            <p14:sldId id="33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ierry Fraudet" initials="TF" lastIdx="5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C9B"/>
    <a:srgbClr val="CCCC00"/>
    <a:srgbClr val="27509B"/>
    <a:srgbClr val="00B87B"/>
    <a:srgbClr val="00C997"/>
    <a:srgbClr val="00B475"/>
    <a:srgbClr val="C0504D"/>
    <a:srgbClr val="A6A6A6"/>
    <a:srgbClr val="B9EEB0"/>
    <a:srgbClr val="00B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CD9563B-795A-3327-594B-EE92FAB8C0F8}" v="65" dt="2021-10-18T14:56:59.967"/>
    <p1510:client id="{2AE95382-26A0-0C27-64CD-55386BA6DA8A}" v="260" dt="2021-10-14T14:10:17.581"/>
    <p1510:client id="{63CA0C1D-C463-8D44-F7E6-2D65D839C920}" v="2796" dt="2021-10-13T17:35:06.093"/>
    <p1510:client id="{790BA400-87F9-8F84-69AA-861B5C14A516}" v="541" dt="2021-10-28T09:30:53.64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75DCB02-9BB8-47FD-8907-85C794F793BA}" styleName="Style à thème 1 - Accentuation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94"/>
  </p:normalViewPr>
  <p:slideViewPr>
    <p:cSldViewPr snapToGrid="0">
      <p:cViewPr varScale="1">
        <p:scale>
          <a:sx n="156" d="100"/>
          <a:sy n="156" d="100"/>
        </p:scale>
        <p:origin x="808" y="16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FAC1C7-9E5D-4441-A8DE-D4FA72AEF22D}" type="datetimeFigureOut">
              <a:rPr lang="fr-FR" smtClean="0"/>
              <a:t>07/11/2021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49939F-CAB9-FE40-8FD3-31C143F5FB1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042528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15EC3C-BFA7-9E4C-BB13-BAA5658834CA}" type="datetimeFigureOut">
              <a:rPr lang="fr-FR" smtClean="0"/>
              <a:t>07/11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EDB5E3-C477-CC4C-8674-BAC7A056258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6107043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5E34BA-6A0A-4A90-9993-D3FCD4F8CEA0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93883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EDB5E3-C477-CC4C-8674-BAC7A0562584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057144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18" Type="http://schemas.openxmlformats.org/officeDocument/2006/relationships/image" Target="../media/image30.png"/><Relationship Id="rId3" Type="http://schemas.openxmlformats.org/officeDocument/2006/relationships/tags" Target="../tags/tag12.xml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17" Type="http://schemas.openxmlformats.org/officeDocument/2006/relationships/image" Target="../media/image29.png"/><Relationship Id="rId2" Type="http://schemas.openxmlformats.org/officeDocument/2006/relationships/tags" Target="../tags/tag11.xml"/><Relationship Id="rId16" Type="http://schemas.openxmlformats.org/officeDocument/2006/relationships/image" Target="../media/image28.png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23.png"/><Relationship Id="rId5" Type="http://schemas.openxmlformats.org/officeDocument/2006/relationships/oleObject" Target="../embeddings/oleObject10.bin"/><Relationship Id="rId15" Type="http://schemas.openxmlformats.org/officeDocument/2006/relationships/image" Target="../media/image27.png"/><Relationship Id="rId10" Type="http://schemas.openxmlformats.org/officeDocument/2006/relationships/image" Target="../media/image22.png"/><Relationship Id="rId19" Type="http://schemas.openxmlformats.org/officeDocument/2006/relationships/image" Target="../media/image31.png"/><Relationship Id="rId4" Type="http://schemas.openxmlformats.org/officeDocument/2006/relationships/slideMaster" Target="../slideMasters/slideMaster7.xml"/><Relationship Id="rId9" Type="http://schemas.openxmlformats.org/officeDocument/2006/relationships/image" Target="../media/image21.png"/><Relationship Id="rId14" Type="http://schemas.openxmlformats.org/officeDocument/2006/relationships/image" Target="../media/image26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755" t="5446" r="-3693" b="8475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graphicFrame>
        <p:nvGraphicFramePr>
          <p:cNvPr id="11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86247098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12" name="Picture 2" descr="C:\Users\F299251\Pictures\Nouveau Logo MICHELIN\Michelin_G_Stacked_WhiteBG_061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2385" y="222917"/>
            <a:ext cx="2021336" cy="1186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6321" y="4227180"/>
            <a:ext cx="1813463" cy="938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490725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25964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CHAPITR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6" name="Image 5" descr="maincadr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946" y="668868"/>
            <a:ext cx="3500054" cy="2042256"/>
          </a:xfrm>
          <a:prstGeom prst="rect">
            <a:avLst/>
          </a:prstGeom>
        </p:spPr>
      </p:pic>
      <p:pic>
        <p:nvPicPr>
          <p:cNvPr id="9" name="Image 8" descr="maincadr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370673"/>
            <a:ext cx="3386571" cy="2547558"/>
          </a:xfrm>
          <a:prstGeom prst="rect">
            <a:avLst/>
          </a:prstGeom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319704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 CHAPITR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8" name="Image 7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69722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1980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4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14708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8631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4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85926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60513_mains_bibcoeur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514600" y="2037915"/>
            <a:ext cx="4114800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CHAPITRE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189314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1171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61270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20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756282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843148" y="655309"/>
            <a:ext cx="7965127" cy="4102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20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0" y="-892"/>
            <a:ext cx="760151" cy="2146991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80075" y="1330455"/>
            <a:ext cx="8443291" cy="3308219"/>
          </a:xfrm>
          <a:prstGeom prst="rect">
            <a:avLst/>
          </a:prstGeom>
        </p:spPr>
        <p:txBody>
          <a:bodyPr>
            <a:normAutofit/>
          </a:bodyPr>
          <a:lstStyle>
            <a:lvl1pPr marL="252413" indent="-252413">
              <a:buClr>
                <a:schemeClr val="bg2"/>
              </a:buClr>
              <a:buFontTx/>
              <a:buBlip>
                <a:blip r:embed="rId2"/>
              </a:buBlip>
              <a:defRPr sz="18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25475" indent="-266700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98525" indent="-273050">
              <a:buClr>
                <a:schemeClr val="accent2"/>
              </a:buClr>
              <a:buFont typeface="Arial" panose="020B0604020202020204" pitchFamily="34" charset="0"/>
              <a:buChar char="•"/>
              <a:defRPr sz="160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828000" y="72000"/>
            <a:ext cx="7983491" cy="56838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80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8140" y="4600563"/>
            <a:ext cx="1160047" cy="540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380075" y="4903559"/>
            <a:ext cx="536400" cy="183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60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#›</a:t>
            </a:fld>
            <a:endParaRPr kumimoji="0" lang="en-US" sz="60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45030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6177B-F258-44C5-91EF-9B59CF99F698}" type="datetimeFigureOut">
              <a:rPr lang="fr-FR" smtClean="0"/>
              <a:t>07/11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63C0C2-1D3F-43CF-A7BC-45BC79C8639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949719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0767536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2310" y="157119"/>
            <a:ext cx="2215108" cy="1300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1141" y="423189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322014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28600" y="483497"/>
            <a:ext cx="8686800" cy="45512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4050" b="1">
                <a:solidFill>
                  <a:schemeClr val="tx1"/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57175" y="285750"/>
            <a:ext cx="8686800" cy="2167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50" b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276144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755" t="5446" r="-3693" b="8475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8" name="Picture 2" descr="C:\Users\F299251\Pictures\Nouveau Logo MICHELIN\Michelin_G_Stacked_WhiteBG_061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4394" y="4046923"/>
            <a:ext cx="2021336" cy="1186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41144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267024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8" name="Image 7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pic>
        <p:nvPicPr>
          <p:cNvPr id="6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7847" y="4038680"/>
            <a:ext cx="2049105" cy="120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18898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2604910" y="2267024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4382" y="469687"/>
            <a:ext cx="5539619" cy="3966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0470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00530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598402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68522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10699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61270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20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756282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maincadr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946" y="668868"/>
            <a:ext cx="3500054" cy="2042256"/>
          </a:xfrm>
          <a:prstGeom prst="rect">
            <a:avLst/>
          </a:prstGeom>
        </p:spPr>
      </p:pic>
      <p:pic>
        <p:nvPicPr>
          <p:cNvPr id="3" name="Image 2" descr="maincadr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370673"/>
            <a:ext cx="3386571" cy="2547558"/>
          </a:xfrm>
          <a:prstGeom prst="rect">
            <a:avLst/>
          </a:prstGeom>
        </p:spPr>
      </p:pic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25964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graphicFrame>
        <p:nvGraphicFramePr>
          <p:cNvPr id="10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55455220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3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7847" y="4038680"/>
            <a:ext cx="2049105" cy="120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2310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843148" y="655309"/>
            <a:ext cx="7965127" cy="4102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20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0" y="-892"/>
            <a:ext cx="760151" cy="2146991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80075" y="1330455"/>
            <a:ext cx="8443291" cy="3308219"/>
          </a:xfrm>
          <a:prstGeom prst="rect">
            <a:avLst/>
          </a:prstGeom>
        </p:spPr>
        <p:txBody>
          <a:bodyPr>
            <a:normAutofit/>
          </a:bodyPr>
          <a:lstStyle>
            <a:lvl1pPr marL="252413" indent="-252413">
              <a:buClr>
                <a:schemeClr val="bg2"/>
              </a:buClr>
              <a:buFontTx/>
              <a:buBlip>
                <a:blip r:embed="rId2"/>
              </a:buBlip>
              <a:defRPr sz="18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25475" indent="-266700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98525" indent="-273050">
              <a:buClr>
                <a:schemeClr val="accent2"/>
              </a:buClr>
              <a:buFont typeface="Arial" panose="020B0604020202020204" pitchFamily="34" charset="0"/>
              <a:buChar char="•"/>
              <a:defRPr sz="160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828000" y="72000"/>
            <a:ext cx="7983491" cy="56838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80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8140" y="4600563"/>
            <a:ext cx="1160047" cy="540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380075" y="4903559"/>
            <a:ext cx="536400" cy="183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60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#›</a:t>
            </a:fld>
            <a:endParaRPr kumimoji="0" lang="en-US" sz="60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45030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285170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968200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895132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843148" y="655309"/>
            <a:ext cx="7965127" cy="4102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20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0" y="-892"/>
            <a:ext cx="760151" cy="2146991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80075" y="1330455"/>
            <a:ext cx="8443291" cy="3308219"/>
          </a:xfrm>
          <a:prstGeom prst="rect">
            <a:avLst/>
          </a:prstGeom>
        </p:spPr>
        <p:txBody>
          <a:bodyPr>
            <a:normAutofit/>
          </a:bodyPr>
          <a:lstStyle>
            <a:lvl1pPr marL="252413" indent="-252413">
              <a:buClr>
                <a:schemeClr val="bg2"/>
              </a:buClr>
              <a:buFontTx/>
              <a:buBlip>
                <a:blip r:embed="rId2"/>
              </a:buBlip>
              <a:defRPr sz="18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25475" indent="-266700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98525" indent="-273050">
              <a:buClr>
                <a:schemeClr val="accent2"/>
              </a:buClr>
              <a:buFont typeface="Arial" panose="020B0604020202020204" pitchFamily="34" charset="0"/>
              <a:buChar char="•"/>
              <a:defRPr sz="160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828000" y="72000"/>
            <a:ext cx="7983491" cy="56838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80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8140" y="4600563"/>
            <a:ext cx="1160047" cy="540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380075" y="4903559"/>
            <a:ext cx="536400" cy="183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60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#›</a:t>
            </a:fld>
            <a:endParaRPr kumimoji="0" lang="en-US" sz="60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288786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t 24" hidden="1">
            <a:extLst>
              <a:ext uri="{FF2B5EF4-FFF2-40B4-BE49-F238E27FC236}">
                <a16:creationId xmlns:a16="http://schemas.microsoft.com/office/drawing/2014/main" id="{1F9B4236-5A2E-4232-B288-C11CBF0708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25" name="Objet 24" hidden="1">
                        <a:extLst>
                          <a:ext uri="{FF2B5EF4-FFF2-40B4-BE49-F238E27FC236}">
                            <a16:creationId xmlns:a16="http://schemas.microsoft.com/office/drawing/2014/main" id="{1F9B4236-5A2E-4232-B288-C11CBF0708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805529F7-1784-4A53-8AFD-1A56AEF9091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1800" b="0" i="0" baseline="0">
              <a:latin typeface="Michelin SemiBold" panose="02000000000000000000" pitchFamily="50" charset="0"/>
              <a:ea typeface="+mj-ea"/>
              <a:cs typeface="+mj-cs"/>
              <a:sym typeface="Michelin SemiBold" panose="02000000000000000000" pitchFamily="50" charset="0"/>
            </a:endParaRP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65A3FE44-B24D-4D58-858D-0A888B310553}"/>
              </a:ext>
            </a:extLst>
          </p:cNvPr>
          <p:cNvGrpSpPr/>
          <p:nvPr userDrawn="1"/>
        </p:nvGrpSpPr>
        <p:grpSpPr>
          <a:xfrm>
            <a:off x="-108520" y="0"/>
            <a:ext cx="857993" cy="5143500"/>
            <a:chOff x="-78036" y="0"/>
            <a:chExt cx="857993" cy="51435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5401F7C-E7E6-4B27-AA92-4C2D23814850}"/>
                </a:ext>
              </a:extLst>
            </p:cNvPr>
            <p:cNvSpPr/>
            <p:nvPr/>
          </p:nvSpPr>
          <p:spPr>
            <a:xfrm rot="10800000">
              <a:off x="0" y="0"/>
              <a:ext cx="755708" cy="5143500"/>
            </a:xfrm>
            <a:prstGeom prst="rect">
              <a:avLst/>
            </a:prstGeom>
            <a:gradFill>
              <a:gsLst>
                <a:gs pos="51000">
                  <a:srgbClr val="00B06E"/>
                </a:gs>
                <a:gs pos="2000">
                  <a:srgbClr val="00866E"/>
                </a:gs>
                <a:gs pos="100000">
                  <a:srgbClr val="00CC9B"/>
                </a:gs>
              </a:gsLst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7" name="Picture 3" descr="C:\Users\F299251\Documents\INFORMATION TECHNOLOGY\STRATEGY\2018\EVERGREEN\evergreen  tshirt-03.png">
              <a:extLst>
                <a:ext uri="{FF2B5EF4-FFF2-40B4-BE49-F238E27FC236}">
                  <a16:creationId xmlns:a16="http://schemas.microsoft.com/office/drawing/2014/main" id="{021B9ED3-3FB0-48CD-8F96-AFE06FC3F65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539" t="25632" r="32448" b="69734"/>
            <a:stretch/>
          </p:blipFill>
          <p:spPr bwMode="auto">
            <a:xfrm rot="21088789">
              <a:off x="25550" y="130422"/>
              <a:ext cx="704609" cy="1731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3" descr="C:\Users\F299251\Documents\INFORMATION TECHNOLOGY\STRATEGY\2018\EVERGREEN\evergreen  tshirt-03.png">
              <a:extLst>
                <a:ext uri="{FF2B5EF4-FFF2-40B4-BE49-F238E27FC236}">
                  <a16:creationId xmlns:a16="http://schemas.microsoft.com/office/drawing/2014/main" id="{1017489C-73F7-4A3B-8F24-E488CDB2CDF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552" t="46562" r="82212" b="46832"/>
            <a:stretch/>
          </p:blipFill>
          <p:spPr bwMode="auto">
            <a:xfrm>
              <a:off x="66942" y="417398"/>
              <a:ext cx="568036" cy="5818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3" descr="C:\Users\F299251\Documents\INFORMATION TECHNOLOGY\STRATEGY\2018\EVERGREEN\evergreen  tshirt-03.png">
              <a:extLst>
                <a:ext uri="{FF2B5EF4-FFF2-40B4-BE49-F238E27FC236}">
                  <a16:creationId xmlns:a16="http://schemas.microsoft.com/office/drawing/2014/main" id="{875E5D3A-F33F-436B-B742-6875E121214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650" t="55832" r="33863" b="39021"/>
            <a:stretch/>
          </p:blipFill>
          <p:spPr bwMode="auto">
            <a:xfrm rot="652265">
              <a:off x="32421" y="956943"/>
              <a:ext cx="690862" cy="1922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3" descr="C:\Users\F299251\Documents\INFORMATION TECHNOLOGY\STRATEGY\2018\EVERGREEN\evergreen  tshirt-03.png">
              <a:extLst>
                <a:ext uri="{FF2B5EF4-FFF2-40B4-BE49-F238E27FC236}">
                  <a16:creationId xmlns:a16="http://schemas.microsoft.com/office/drawing/2014/main" id="{F52A30C3-1593-4232-8C3E-40B7DC418A3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3865" t="30623" r="19242" b="65762"/>
            <a:stretch/>
          </p:blipFill>
          <p:spPr bwMode="auto">
            <a:xfrm>
              <a:off x="68850" y="1282773"/>
              <a:ext cx="586477" cy="1797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3" descr="C:\Users\F299251\Documents\INFORMATION TECHNOLOGY\STRATEGY\2018\EVERGREEN\evergreen  tshirt-03.png">
              <a:extLst>
                <a:ext uri="{FF2B5EF4-FFF2-40B4-BE49-F238E27FC236}">
                  <a16:creationId xmlns:a16="http://schemas.microsoft.com/office/drawing/2014/main" id="{C08935D4-8D10-4EF0-AE1D-FC4DD1382AF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190" t="54954" r="61981" b="40016"/>
            <a:stretch/>
          </p:blipFill>
          <p:spPr bwMode="auto">
            <a:xfrm rot="20989932">
              <a:off x="32467" y="2019492"/>
              <a:ext cx="694155" cy="2013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3" descr="C:\Users\F299251\Documents\INFORMATION TECHNOLOGY\STRATEGY\2018\EVERGREEN\evergreen  tshirt-03.png">
              <a:extLst>
                <a:ext uri="{FF2B5EF4-FFF2-40B4-BE49-F238E27FC236}">
                  <a16:creationId xmlns:a16="http://schemas.microsoft.com/office/drawing/2014/main" id="{907FB3A5-F150-4461-9010-AB522917ADE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064" t="60038" r="63667" b="34879"/>
            <a:stretch/>
          </p:blipFill>
          <p:spPr bwMode="auto">
            <a:xfrm>
              <a:off x="68850" y="1537916"/>
              <a:ext cx="631596" cy="4477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3" descr="C:\Users\F299251\Documents\INFORMATION TECHNOLOGY\STRATEGY\2018\EVERGREEN\evergreen  tshirt-03.png">
              <a:extLst>
                <a:ext uri="{FF2B5EF4-FFF2-40B4-BE49-F238E27FC236}">
                  <a16:creationId xmlns:a16="http://schemas.microsoft.com/office/drawing/2014/main" id="{1D22559B-F0D1-4A9F-B1C4-F6AEE0ACBD6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396" t="44470" r="9255" b="49965"/>
            <a:stretch/>
          </p:blipFill>
          <p:spPr bwMode="auto">
            <a:xfrm>
              <a:off x="80292" y="2249418"/>
              <a:ext cx="575035" cy="4901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3" descr="C:\Users\F299251\Documents\INFORMATION TECHNOLOGY\STRATEGY\2018\EVERGREEN\evergreen  tshirt-03.png">
              <a:extLst>
                <a:ext uri="{FF2B5EF4-FFF2-40B4-BE49-F238E27FC236}">
                  <a16:creationId xmlns:a16="http://schemas.microsoft.com/office/drawing/2014/main" id="{046072D5-FCAF-4CDB-86F7-77CF2F83E51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490" t="60632" r="29946" b="32519"/>
            <a:stretch/>
          </p:blipFill>
          <p:spPr bwMode="auto">
            <a:xfrm>
              <a:off x="44923" y="2784219"/>
              <a:ext cx="657804" cy="1922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5" descr="C:\Users\F299251\Documents\INFORMATION TECHNOLOGY\STRATEGY\2018\EVERGREEN\resilience-04.png">
              <a:extLst>
                <a:ext uri="{FF2B5EF4-FFF2-40B4-BE49-F238E27FC236}">
                  <a16:creationId xmlns:a16="http://schemas.microsoft.com/office/drawing/2014/main" id="{8B7CAE40-CBC1-48E3-A59B-D65D1040BB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659130">
              <a:off x="-78036" y="3346088"/>
              <a:ext cx="857993" cy="3343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3" descr="C:\Users\F299251\Documents\INFORMATION TECHNOLOGY\STRATEGY\2018\EVERGREEN\evergreen  tshirt-03.png">
              <a:extLst>
                <a:ext uri="{FF2B5EF4-FFF2-40B4-BE49-F238E27FC236}">
                  <a16:creationId xmlns:a16="http://schemas.microsoft.com/office/drawing/2014/main" id="{E8F1C0EE-9E07-44A0-B2C4-FD7B18177CB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742" t="35270" r="55234" b="58416"/>
            <a:stretch/>
          </p:blipFill>
          <p:spPr bwMode="auto">
            <a:xfrm>
              <a:off x="35496" y="3731915"/>
              <a:ext cx="666815" cy="1772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3" descr="C:\Users\F299251\Documents\INFORMATION TECHNOLOGY\STRATEGY\2018\EVERGREEN\evergreen  tshirt-03.png">
              <a:extLst>
                <a:ext uri="{FF2B5EF4-FFF2-40B4-BE49-F238E27FC236}">
                  <a16:creationId xmlns:a16="http://schemas.microsoft.com/office/drawing/2014/main" id="{5F168BBC-96DE-483C-9663-137BC09AD9B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8752" t="36126" r="40520" b="58416"/>
            <a:stretch/>
          </p:blipFill>
          <p:spPr bwMode="auto">
            <a:xfrm rot="20695289">
              <a:off x="79984" y="3965568"/>
              <a:ext cx="545353" cy="3973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3" descr="C:\Users\F299251\Documents\INFORMATION TECHNOLOGY\STRATEGY\2018\EVERGREEN\evergreen  tshirt-03.png">
              <a:extLst>
                <a:ext uri="{FF2B5EF4-FFF2-40B4-BE49-F238E27FC236}">
                  <a16:creationId xmlns:a16="http://schemas.microsoft.com/office/drawing/2014/main" id="{0B86B672-FE72-4DF9-BAA0-F58442108BB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858" t="35056" r="23969" b="59379"/>
            <a:stretch/>
          </p:blipFill>
          <p:spPr bwMode="auto">
            <a:xfrm>
              <a:off x="46143" y="4377634"/>
              <a:ext cx="637425" cy="3348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6" descr="C:\Users\F299251\Documents\INFORMATION TECHNOLOGY\STRATEGY\2018\EVERGREEN\delight the user-04.png">
              <a:extLst>
                <a:ext uri="{FF2B5EF4-FFF2-40B4-BE49-F238E27FC236}">
                  <a16:creationId xmlns:a16="http://schemas.microsoft.com/office/drawing/2014/main" id="{6B22B152-E2D5-49D1-AACA-B45664420A3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973" t="18265" r="33995" b="12390"/>
            <a:stretch/>
          </p:blipFill>
          <p:spPr bwMode="auto">
            <a:xfrm>
              <a:off x="56017" y="4700549"/>
              <a:ext cx="593286" cy="4107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3" name="Titre 1">
            <a:extLst>
              <a:ext uri="{FF2B5EF4-FFF2-40B4-BE49-F238E27FC236}">
                <a16:creationId xmlns:a16="http://schemas.microsoft.com/office/drawing/2014/main" id="{FE9426FE-A8D3-4679-ACAF-C12399C0BD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1600" y="217636"/>
            <a:ext cx="7848872" cy="274302"/>
          </a:xfrm>
          <a:prstGeom prst="rect">
            <a:avLst/>
          </a:prstGeom>
        </p:spPr>
        <p:txBody>
          <a:bodyPr/>
          <a:lstStyle>
            <a:lvl1pPr algn="l">
              <a:defRPr sz="1800" b="0" i="0">
                <a:solidFill>
                  <a:srgbClr val="395EA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pic>
        <p:nvPicPr>
          <p:cNvPr id="21" name="Picture 4" descr="C:\Users\F299251\Documents\INFORMATION TECHNOLOGY\STRATEGY\2018\EVERGREEN\stars-04.png">
            <a:extLst>
              <a:ext uri="{FF2B5EF4-FFF2-40B4-BE49-F238E27FC236}">
                <a16:creationId xmlns:a16="http://schemas.microsoft.com/office/drawing/2014/main" id="{84D23742-C197-40D9-89CA-9F32C945DDF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9852" y="2971942"/>
            <a:ext cx="1141988" cy="445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407955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07/11/2021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47737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1"/>
          <p:cNvSpPr>
            <a:spLocks noGrp="1"/>
          </p:cNvSpPr>
          <p:nvPr>
            <p:ph type="title"/>
          </p:nvPr>
        </p:nvSpPr>
        <p:spPr>
          <a:xfrm>
            <a:off x="415584" y="308122"/>
            <a:ext cx="8322913" cy="804842"/>
          </a:xfrm>
          <a:prstGeom prst="rect">
            <a:avLst/>
          </a:prstGeom>
        </p:spPr>
        <p:txBody>
          <a:bodyPr lIns="0"/>
          <a:lstStyle>
            <a:lvl1pPr>
              <a:defRPr sz="2850" b="0">
                <a:latin typeface="+mj-lt"/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5583" y="706858"/>
            <a:ext cx="8322755" cy="406106"/>
          </a:xfrm>
          <a:prstGeom prst="rect">
            <a:avLst/>
          </a:prstGeom>
        </p:spPr>
        <p:txBody>
          <a:bodyPr lIns="0" anchor="t" anchorCtr="0"/>
          <a:lstStyle>
            <a:lvl1pPr marL="0" indent="0">
              <a:buNone/>
              <a:defRPr sz="1650">
                <a:solidFill>
                  <a:srgbClr val="7F7F7F"/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  <p:extLst>
      <p:ext uri="{BB962C8B-B14F-4D97-AF65-F5344CB8AC3E}">
        <p14:creationId xmlns:p14="http://schemas.microsoft.com/office/powerpoint/2010/main" val="3093002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058385"/>
            <a:ext cx="3951112" cy="1120244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graphicFrame>
        <p:nvGraphicFramePr>
          <p:cNvPr id="8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59366676"/>
              </p:ext>
            </p:extLst>
          </p:nvPr>
        </p:nvGraphicFramePr>
        <p:xfrm>
          <a:off x="-1" y="4970026"/>
          <a:ext cx="6604001" cy="180044"/>
        </p:xfrm>
        <a:graphic>
          <a:graphicData uri="http://schemas.openxmlformats.org/drawingml/2006/table">
            <a:tbl>
              <a:tblPr/>
              <a:tblGrid>
                <a:gridCol w="2469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74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809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6344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BFBFB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BFBFB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9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2310" y="157119"/>
            <a:ext cx="2215108" cy="1300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1141" y="423189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52139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1980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39445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9729" y="-109728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488116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8631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39445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9729" y="-109728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099617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60513_mains_bibcoeur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455331" y="1927844"/>
            <a:ext cx="4114800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graphicFrame>
        <p:nvGraphicFramePr>
          <p:cNvPr id="6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254763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9729" y="-110363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228924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755" t="5446" r="-3693" b="8475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3675" y="4031358"/>
            <a:ext cx="1813463" cy="938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571287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1153" y="154662"/>
            <a:ext cx="2240866" cy="1178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85190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9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18.xml"/><Relationship Id="rId9" Type="http://schemas.openxmlformats.org/officeDocument/2006/relationships/tags" Target="../tags/tag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5.xml"/><Relationship Id="rId5" Type="http://schemas.openxmlformats.org/officeDocument/2006/relationships/vmlDrawing" Target="../drawings/vmlDrawing4.v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29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oleObject" Target="../embeddings/oleObject8.bin"/><Relationship Id="rId5" Type="http://schemas.openxmlformats.org/officeDocument/2006/relationships/slideLayout" Target="../slideLayouts/slideLayout35.xml"/><Relationship Id="rId10" Type="http://schemas.openxmlformats.org/officeDocument/2006/relationships/tags" Target="../tags/tag9.xml"/><Relationship Id="rId4" Type="http://schemas.openxmlformats.org/officeDocument/2006/relationships/slideLayout" Target="../slideLayouts/slideLayout34.xml"/><Relationship Id="rId9" Type="http://schemas.openxmlformats.org/officeDocument/2006/relationships/vmlDrawing" Target="../drawings/vmlDrawing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4547112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Diapositive think-cell" r:id="rId11" imgW="270" imgH="270" progId="TCLayout.ActiveDocument.1">
                  <p:embed/>
                </p:oleObj>
              </mc:Choice>
              <mc:Fallback>
                <p:oleObj name="Diapositive think-cell" r:id="rId11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41013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0586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35299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Diapositive think-cell" r:id="rId10" imgW="270" imgH="270" progId="TCLayout.ActiveDocument.1">
                  <p:embed/>
                </p:oleObj>
              </mc:Choice>
              <mc:Fallback>
                <p:oleObj name="Diapositive think-cell" r:id="rId10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572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705" r:id="rId4"/>
    <p:sldLayoutId id="2147483711" r:id="rId5"/>
    <p:sldLayoutId id="2147483728" r:id="rId6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5174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97" r:id="rId2"/>
    <p:sldLayoutId id="2147483693" r:id="rId3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683539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Diapositive think-cell" r:id="rId7" imgW="270" imgH="270" progId="TCLayout.ActiveDocument.1">
                  <p:embed/>
                </p:oleObj>
              </mc:Choice>
              <mc:Fallback>
                <p:oleObj name="Diapositive think-cell" r:id="rId7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37524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373996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572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Diapositive think-cell" r:id="rId11" imgW="270" imgH="270" progId="TCLayout.ActiveDocument.1">
                  <p:embed/>
                </p:oleObj>
              </mc:Choice>
              <mc:Fallback>
                <p:oleObj name="Diapositive think-cell" r:id="rId11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94037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5" r:id="rId5"/>
    <p:sldLayoutId id="2147483726" r:id="rId6"/>
    <p:sldLayoutId id="2147483727" r:id="rId7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CC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00CC9B"/>
              </a:solidFill>
            </a:endParaRPr>
          </a:p>
        </p:txBody>
      </p:sp>
      <p:sp>
        <p:nvSpPr>
          <p:cNvPr id="6" name="ZoneTexte 5"/>
          <p:cNvSpPr txBox="1"/>
          <p:nvPr/>
        </p:nvSpPr>
        <p:spPr>
          <a:xfrm>
            <a:off x="0" y="986675"/>
            <a:ext cx="9144000" cy="286232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haroni"/>
                <a:cs typeface="Aharoni"/>
              </a:rPr>
              <a:t>Architecture Runway</a:t>
            </a:r>
          </a:p>
          <a:p>
            <a:pPr algn="ctr"/>
            <a:r>
              <a:rPr lang="en-US" sz="36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Product ABC</a:t>
            </a:r>
          </a:p>
          <a:p>
            <a:pPr algn="ctr"/>
            <a:r>
              <a:rPr lang="en-US" sz="3600" dirty="0">
                <a:solidFill>
                  <a:srgbClr val="27509B"/>
                </a:solidFill>
                <a:latin typeface="Aharoni"/>
                <a:cs typeface="Aharoni"/>
              </a:rPr>
              <a:t>2022</a:t>
            </a:r>
            <a:endParaRPr lang="en-US" sz="3600" dirty="0">
              <a:solidFill>
                <a:srgbClr val="27509B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  <a:p>
            <a:pPr algn="ctr"/>
            <a:endParaRPr lang="en-US" sz="3600" dirty="0">
              <a:solidFill>
                <a:schemeClr val="bg1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  <a:p>
            <a:pPr algn="ctr"/>
            <a:endParaRPr lang="en-US" sz="3600" dirty="0">
              <a:solidFill>
                <a:schemeClr val="bg1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99192" y="2809522"/>
            <a:ext cx="2610550" cy="1930761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E7315C14-C54F-7541-898F-538805852BE2}"/>
              </a:ext>
            </a:extLst>
          </p:cNvPr>
          <p:cNvSpPr txBox="1"/>
          <p:nvPr/>
        </p:nvSpPr>
        <p:spPr>
          <a:xfrm>
            <a:off x="5015883" y="-19530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87672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 bwMode="auto">
          <a:xfrm>
            <a:off x="1519053" y="4948592"/>
            <a:ext cx="6480720" cy="54006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75000"/>
                  <a:alpha val="84000"/>
                </a:schemeClr>
              </a:gs>
              <a:gs pos="79000">
                <a:schemeClr val="bg2">
                  <a:alpha val="84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latin typeface="Times" pitchFamily="-104" charset="0"/>
            </a:endParaRPr>
          </a:p>
        </p:txBody>
      </p:sp>
      <p:grpSp>
        <p:nvGrpSpPr>
          <p:cNvPr id="18" name="Grouper 12"/>
          <p:cNvGrpSpPr/>
          <p:nvPr/>
        </p:nvGrpSpPr>
        <p:grpSpPr>
          <a:xfrm>
            <a:off x="2113119" y="770172"/>
            <a:ext cx="5292588" cy="763808"/>
            <a:chOff x="971600" y="1052306"/>
            <a:chExt cx="7056784" cy="1018411"/>
          </a:xfrm>
        </p:grpSpPr>
        <p:sp>
          <p:nvSpPr>
            <p:cNvPr id="19" name="ZoneTexte 18"/>
            <p:cNvSpPr txBox="1"/>
            <p:nvPr/>
          </p:nvSpPr>
          <p:spPr>
            <a:xfrm>
              <a:off x="1082592" y="1068477"/>
              <a:ext cx="626667" cy="3385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050">
                  <a:solidFill>
                    <a:srgbClr val="C00000"/>
                  </a:solidFill>
                  <a:latin typeface="+mj-lt"/>
                </a:rPr>
                <a:t>HIGH</a:t>
              </a:r>
              <a:endParaRPr lang="fr-FR" sz="1350">
                <a:solidFill>
                  <a:srgbClr val="C00000"/>
                </a:solidFill>
                <a:latin typeface="+mj-lt"/>
              </a:endParaRPr>
            </a:p>
          </p:txBody>
        </p:sp>
        <p:sp>
          <p:nvSpPr>
            <p:cNvPr id="20" name="ZoneTexte 19"/>
            <p:cNvSpPr txBox="1"/>
            <p:nvPr/>
          </p:nvSpPr>
          <p:spPr>
            <a:xfrm>
              <a:off x="3923752" y="1071353"/>
              <a:ext cx="913071" cy="3385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050">
                  <a:solidFill>
                    <a:srgbClr val="FAB434"/>
                  </a:solidFill>
                  <a:latin typeface="+mj-lt"/>
                </a:rPr>
                <a:t>MEDIUM</a:t>
              </a:r>
              <a:endParaRPr lang="fr-FR" sz="1350">
                <a:solidFill>
                  <a:srgbClr val="FAB434"/>
                </a:solidFill>
                <a:latin typeface="+mj-lt"/>
              </a:endParaRPr>
            </a:p>
          </p:txBody>
        </p:sp>
        <p:grpSp>
          <p:nvGrpSpPr>
            <p:cNvPr id="21" name="Grouper 11"/>
            <p:cNvGrpSpPr/>
            <p:nvPr/>
          </p:nvGrpSpPr>
          <p:grpSpPr>
            <a:xfrm>
              <a:off x="971600" y="1340768"/>
              <a:ext cx="7056784" cy="729949"/>
              <a:chOff x="971600" y="1340768"/>
              <a:chExt cx="7056784" cy="729949"/>
            </a:xfrm>
          </p:grpSpPr>
          <p:sp>
            <p:nvSpPr>
              <p:cNvPr id="23" name="Rectangle 22"/>
              <p:cNvSpPr/>
              <p:nvPr/>
            </p:nvSpPr>
            <p:spPr bwMode="auto">
              <a:xfrm>
                <a:off x="1331640" y="1340768"/>
                <a:ext cx="6336704" cy="720080"/>
              </a:xfrm>
              <a:prstGeom prst="rect">
                <a:avLst/>
              </a:prstGeom>
              <a:gradFill flip="none" rotWithShape="1">
                <a:gsLst>
                  <a:gs pos="10000">
                    <a:srgbClr val="00B475"/>
                  </a:gs>
                  <a:gs pos="98000">
                    <a:srgbClr val="C00000"/>
                  </a:gs>
                  <a:gs pos="50000">
                    <a:srgbClr val="FFC000"/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0" rIns="68580" bIns="3429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>
                  <a:latin typeface="Arial"/>
                  <a:cs typeface="Arial"/>
                </a:endParaRPr>
              </a:p>
            </p:txBody>
          </p:sp>
          <p:sp>
            <p:nvSpPr>
              <p:cNvPr id="24" name="Losange 23"/>
              <p:cNvSpPr/>
              <p:nvPr/>
            </p:nvSpPr>
            <p:spPr bwMode="auto">
              <a:xfrm>
                <a:off x="7290725" y="1340768"/>
                <a:ext cx="737659" cy="720080"/>
              </a:xfrm>
              <a:prstGeom prst="diamond">
                <a:avLst/>
              </a:prstGeom>
              <a:solidFill>
                <a:srgbClr val="00B475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>
                  <a:latin typeface="Times" pitchFamily="-104" charset="0"/>
                </a:endParaRPr>
              </a:p>
            </p:txBody>
          </p:sp>
          <p:sp>
            <p:nvSpPr>
              <p:cNvPr id="25" name="ZoneTexte 24"/>
              <p:cNvSpPr txBox="1"/>
              <p:nvPr/>
            </p:nvSpPr>
            <p:spPr>
              <a:xfrm>
                <a:off x="7394877" y="1556792"/>
                <a:ext cx="543920" cy="338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050" b="1">
                    <a:solidFill>
                      <a:schemeClr val="bg1"/>
                    </a:solidFill>
                    <a:latin typeface="+mj-lt"/>
                  </a:rPr>
                  <a:t>3</a:t>
                </a:r>
                <a:endParaRPr lang="fr-FR" sz="1350" b="1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6" name="Losange 25"/>
              <p:cNvSpPr/>
              <p:nvPr/>
            </p:nvSpPr>
            <p:spPr bwMode="auto">
              <a:xfrm>
                <a:off x="4015837" y="1340768"/>
                <a:ext cx="737659" cy="720080"/>
              </a:xfrm>
              <a:prstGeom prst="diamond">
                <a:avLst/>
              </a:prstGeom>
              <a:solidFill>
                <a:srgbClr val="FFC000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>
                  <a:latin typeface="Times" pitchFamily="-104" charset="0"/>
                </a:endParaRPr>
              </a:p>
            </p:txBody>
          </p:sp>
          <p:sp>
            <p:nvSpPr>
              <p:cNvPr id="27" name="ZoneTexte 26"/>
              <p:cNvSpPr txBox="1"/>
              <p:nvPr/>
            </p:nvSpPr>
            <p:spPr>
              <a:xfrm>
                <a:off x="4119989" y="1556792"/>
                <a:ext cx="543920" cy="338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050" b="1">
                    <a:solidFill>
                      <a:schemeClr val="bg1"/>
                    </a:solidFill>
                    <a:latin typeface="+mj-lt"/>
                  </a:rPr>
                  <a:t>2</a:t>
                </a:r>
                <a:endParaRPr lang="fr-FR" sz="1350" b="1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8" name="Losange 27"/>
              <p:cNvSpPr/>
              <p:nvPr/>
            </p:nvSpPr>
            <p:spPr bwMode="auto">
              <a:xfrm>
                <a:off x="971600" y="1350637"/>
                <a:ext cx="737659" cy="720080"/>
              </a:xfrm>
              <a:prstGeom prst="diamond">
                <a:avLst/>
              </a:prstGeom>
              <a:solidFill>
                <a:srgbClr val="C00000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fr-FR">
                  <a:latin typeface="Times" pitchFamily="-104" charset="0"/>
                </a:endParaRPr>
              </a:p>
            </p:txBody>
          </p:sp>
          <p:sp>
            <p:nvSpPr>
              <p:cNvPr id="29" name="ZoneTexte 28"/>
              <p:cNvSpPr txBox="1"/>
              <p:nvPr/>
            </p:nvSpPr>
            <p:spPr>
              <a:xfrm>
                <a:off x="1075752" y="1566661"/>
                <a:ext cx="543920" cy="40010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350" b="1">
                    <a:solidFill>
                      <a:schemeClr val="bg1"/>
                    </a:solidFill>
                    <a:latin typeface="+mj-lt"/>
                  </a:rPr>
                  <a:t>1</a:t>
                </a:r>
              </a:p>
            </p:txBody>
          </p:sp>
        </p:grpSp>
        <p:sp>
          <p:nvSpPr>
            <p:cNvPr id="22" name="ZoneTexte 21"/>
            <p:cNvSpPr txBox="1"/>
            <p:nvPr/>
          </p:nvSpPr>
          <p:spPr>
            <a:xfrm>
              <a:off x="7397523" y="1052306"/>
              <a:ext cx="601019" cy="3385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050">
                  <a:solidFill>
                    <a:srgbClr val="00CC9B"/>
                  </a:solidFill>
                  <a:latin typeface="+mj-lt"/>
                </a:rPr>
                <a:t>LOW</a:t>
              </a:r>
              <a:endParaRPr lang="fr-FR" sz="1350">
                <a:solidFill>
                  <a:srgbClr val="00CC9B"/>
                </a:solidFill>
                <a:latin typeface="+mj-lt"/>
              </a:endParaRPr>
            </a:p>
          </p:txBody>
        </p:sp>
      </p:grpSp>
      <p:sp>
        <p:nvSpPr>
          <p:cNvPr id="30" name="Rectangle 29"/>
          <p:cNvSpPr/>
          <p:nvPr/>
        </p:nvSpPr>
        <p:spPr bwMode="auto">
          <a:xfrm>
            <a:off x="561486" y="1881379"/>
            <a:ext cx="2727630" cy="3011573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endParaRPr lang="en-US" sz="1000" b="1" dirty="0">
              <a:latin typeface="+mj-lt"/>
              <a:cs typeface="Calibri"/>
            </a:endParaRPr>
          </a:p>
          <a:p>
            <a:pPr marL="213995" indent="-213995">
              <a:buClr>
                <a:srgbClr val="C00000"/>
              </a:buClr>
              <a:buFont typeface="Wingdings" charset="2"/>
              <a:buChar char=""/>
            </a:pPr>
            <a:r>
              <a:rPr lang="en-US" sz="1000" b="1" dirty="0">
                <a:latin typeface="+mj-lt"/>
                <a:cs typeface="Arial"/>
              </a:rPr>
              <a:t>Kafka confluent cloud migration</a:t>
            </a:r>
          </a:p>
          <a:p>
            <a:pPr marL="213995" indent="-213995">
              <a:buClr>
                <a:srgbClr val="C00000"/>
              </a:buClr>
              <a:buFont typeface="Wingdings" charset="2"/>
              <a:buChar char=""/>
            </a:pPr>
            <a:endParaRPr lang="en-US" sz="1000" b="1" dirty="0">
              <a:latin typeface="+mj-lt"/>
              <a:cs typeface="Arial"/>
            </a:endParaRPr>
          </a:p>
          <a:p>
            <a:pPr marL="213995" indent="-213995">
              <a:buClr>
                <a:srgbClr val="C00000"/>
              </a:buClr>
              <a:buFont typeface="Wingdings" charset="2"/>
              <a:buChar char=""/>
            </a:pPr>
            <a:r>
              <a:rPr lang="en-US" sz="1000" b="1" dirty="0">
                <a:latin typeface="+mj-lt"/>
                <a:cs typeface="Arial"/>
              </a:rPr>
              <a:t>MongoDB Atlas migration</a:t>
            </a:r>
          </a:p>
          <a:p>
            <a:pPr marL="213995" indent="-213995">
              <a:buClr>
                <a:srgbClr val="C00000"/>
              </a:buClr>
              <a:buFont typeface="Wingdings" charset="2"/>
              <a:buChar char=""/>
            </a:pPr>
            <a:endParaRPr lang="en-US" sz="1000" b="1" dirty="0">
              <a:latin typeface="+mj-lt"/>
              <a:cs typeface="Arial"/>
            </a:endParaRPr>
          </a:p>
          <a:p>
            <a:pPr marL="213995" indent="-213995">
              <a:buClr>
                <a:srgbClr val="C00000"/>
              </a:buClr>
              <a:buFont typeface="Wingdings" charset="2"/>
              <a:buChar char=""/>
            </a:pPr>
            <a:r>
              <a:rPr lang="en-US" sz="1000" b="1" dirty="0">
                <a:latin typeface="+mj-lt"/>
                <a:cs typeface="Arial"/>
              </a:rPr>
              <a:t>Support on feature team organization migration </a:t>
            </a:r>
          </a:p>
          <a:p>
            <a:pPr marL="213995" indent="-213995">
              <a:buClr>
                <a:srgbClr val="C00000"/>
              </a:buClr>
              <a:buFont typeface="Wingdings" charset="2"/>
              <a:buChar char=""/>
            </a:pPr>
            <a:endParaRPr lang="en-US" sz="1000" b="1" dirty="0">
              <a:latin typeface="+mj-lt"/>
              <a:cs typeface="Arial"/>
            </a:endParaRPr>
          </a:p>
          <a:p>
            <a:pPr marL="213995" indent="-213995">
              <a:buClr>
                <a:srgbClr val="C00000"/>
              </a:buClr>
              <a:buFont typeface="Wingdings" charset="2"/>
              <a:buChar char=""/>
            </a:pPr>
            <a:r>
              <a:rPr lang="en-US" sz="1000" b="1" dirty="0" err="1">
                <a:ea typeface="+mn-lt"/>
                <a:cs typeface="+mn-lt"/>
              </a:rPr>
              <a:t>Datascientist</a:t>
            </a:r>
            <a:r>
              <a:rPr lang="en-US" sz="1000" b="1" dirty="0">
                <a:ea typeface="+mn-lt"/>
                <a:cs typeface="+mn-lt"/>
              </a:rPr>
              <a:t> journey enhancement</a:t>
            </a:r>
            <a:endParaRPr lang="en-US" sz="1000" b="1" dirty="0">
              <a:latin typeface="+mj-lt"/>
              <a:cs typeface="Arial"/>
            </a:endParaRPr>
          </a:p>
          <a:p>
            <a:pPr marL="671195" lvl="1" indent="-213995">
              <a:buClr>
                <a:srgbClr val="C00000"/>
              </a:buClr>
              <a:buFont typeface="Wingdings" charset="2"/>
              <a:buChar char=""/>
            </a:pPr>
            <a:r>
              <a:rPr lang="en-US" sz="1000" b="1" dirty="0">
                <a:latin typeface="+mj-lt"/>
                <a:cs typeface="Arial"/>
              </a:rPr>
              <a:t>Technical environment</a:t>
            </a:r>
            <a:endParaRPr lang="en-US" sz="1000" b="1" dirty="0">
              <a:latin typeface="+mj-lt"/>
              <a:cs typeface="Arial" panose="020B0604020202020204" pitchFamily="34" charset="0"/>
            </a:endParaRPr>
          </a:p>
          <a:p>
            <a:pPr marL="671195" lvl="1" indent="-213995">
              <a:buClr>
                <a:srgbClr val="C00000"/>
              </a:buClr>
              <a:buFont typeface="Wingdings" charset="2"/>
              <a:buChar char=""/>
            </a:pPr>
            <a:r>
              <a:rPr lang="en-US" sz="1000" b="1" dirty="0">
                <a:latin typeface="+mj-lt"/>
                <a:ea typeface="+mn-lt"/>
                <a:cs typeface="+mn-lt"/>
              </a:rPr>
              <a:t>Algorithm industrialization </a:t>
            </a:r>
          </a:p>
          <a:p>
            <a:pPr marL="671195" lvl="1" indent="-213995">
              <a:buClr>
                <a:srgbClr val="C00000"/>
              </a:buClr>
              <a:buFont typeface="Wingdings" charset="2"/>
              <a:buChar char=""/>
            </a:pPr>
            <a:r>
              <a:rPr lang="en-US" sz="1000" b="1" dirty="0">
                <a:latin typeface="+mj-lt"/>
                <a:ea typeface="+mn-lt"/>
                <a:cs typeface="+mn-lt"/>
              </a:rPr>
              <a:t>Data storage </a:t>
            </a:r>
          </a:p>
          <a:p>
            <a:pPr marL="671195" lvl="1" indent="-213995">
              <a:buClr>
                <a:srgbClr val="C00000"/>
              </a:buClr>
              <a:buFont typeface="Wingdings" charset="2"/>
              <a:buChar char=""/>
            </a:pPr>
            <a:endParaRPr lang="en-US" sz="1000" b="1" dirty="0">
              <a:latin typeface="+mj-lt"/>
              <a:ea typeface="+mn-lt"/>
              <a:cs typeface="+mn-lt"/>
            </a:endParaRPr>
          </a:p>
          <a:p>
            <a:pPr marL="213995" indent="-213995">
              <a:buClr>
                <a:srgbClr val="C00000"/>
              </a:buClr>
              <a:buFont typeface="Wingdings" charset="2"/>
              <a:buChar char=""/>
            </a:pPr>
            <a:r>
              <a:rPr lang="en-US" sz="1000" b="1" dirty="0">
                <a:latin typeface="+mj-lt"/>
                <a:ea typeface="+mn-lt"/>
                <a:cs typeface="+mn-lt"/>
              </a:rPr>
              <a:t>VMWare Tanzu migration</a:t>
            </a:r>
          </a:p>
          <a:p>
            <a:pPr marL="213995" indent="-213995">
              <a:buClr>
                <a:srgbClr val="C00000"/>
              </a:buClr>
              <a:buFont typeface="Wingdings" charset="2"/>
              <a:buChar char=""/>
            </a:pPr>
            <a:endParaRPr lang="en-US" sz="1000" b="1" dirty="0">
              <a:latin typeface="+mj-lt"/>
              <a:ea typeface="+mn-lt"/>
              <a:cs typeface="+mn-lt"/>
            </a:endParaRPr>
          </a:p>
          <a:p>
            <a:pPr marL="213995" indent="-213995">
              <a:buClr>
                <a:srgbClr val="C00000"/>
              </a:buClr>
              <a:buFont typeface="Wingdings" charset="2"/>
              <a:buChar char=""/>
            </a:pPr>
            <a:r>
              <a:rPr lang="en-US" sz="1000" b="1" dirty="0">
                <a:latin typeface="+mj-lt"/>
                <a:ea typeface="+mn-lt"/>
                <a:cs typeface="+mn-lt"/>
              </a:rPr>
              <a:t>Multi-zones study to meet SLR</a:t>
            </a:r>
            <a:endParaRPr lang="en-US" dirty="0"/>
          </a:p>
          <a:p>
            <a:pPr marL="213995" indent="-213995">
              <a:buClr>
                <a:srgbClr val="C00000"/>
              </a:buClr>
              <a:buFont typeface="Wingdings" charset="2"/>
              <a:buChar char=""/>
            </a:pPr>
            <a:endParaRPr lang="en-US" sz="1000" b="1" dirty="0">
              <a:latin typeface="+mj-lt"/>
              <a:ea typeface="+mn-lt"/>
              <a:cs typeface="+mn-lt"/>
            </a:endParaRPr>
          </a:p>
          <a:p>
            <a:pPr marL="213995" indent="-213995">
              <a:buClr>
                <a:srgbClr val="C00000"/>
              </a:buClr>
              <a:buFont typeface="Wingdings" charset="2"/>
              <a:buChar char=""/>
            </a:pPr>
            <a:r>
              <a:rPr lang="en-US" sz="1000" b="1" dirty="0">
                <a:latin typeface="+mj-lt"/>
                <a:ea typeface="+mn-lt"/>
                <a:cs typeface="+mn-lt"/>
              </a:rPr>
              <a:t>DRP strategy on critical use case</a:t>
            </a:r>
          </a:p>
        </p:txBody>
      </p:sp>
      <p:sp>
        <p:nvSpPr>
          <p:cNvPr id="31" name="Rectangle 30"/>
          <p:cNvSpPr/>
          <p:nvPr/>
        </p:nvSpPr>
        <p:spPr bwMode="auto">
          <a:xfrm>
            <a:off x="3353479" y="1894826"/>
            <a:ext cx="2625884" cy="2997966"/>
          </a:xfrm>
          <a:prstGeom prst="rect">
            <a:avLst/>
          </a:prstGeom>
          <a:noFill/>
          <a:ln w="2857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213995" indent="-213995">
              <a:buClr>
                <a:schemeClr val="accent2"/>
              </a:buClr>
              <a:buFont typeface="Wingdings" charset="2"/>
              <a:buChar char=""/>
            </a:pPr>
            <a:endParaRPr lang="en-US" sz="1000" dirty="0">
              <a:latin typeface="+mj-lt"/>
              <a:cs typeface="Arial"/>
            </a:endParaRPr>
          </a:p>
          <a:p>
            <a:pPr marL="213995" indent="-213995">
              <a:buClr>
                <a:srgbClr val="FFC000"/>
              </a:buClr>
              <a:buFont typeface="Wingdings" charset="2"/>
              <a:buChar char=""/>
            </a:pPr>
            <a:r>
              <a:rPr lang="en-US" sz="1000" b="1" dirty="0">
                <a:latin typeface="+mj-lt"/>
                <a:cs typeface="Arial"/>
              </a:rPr>
              <a:t>IoT platform integration</a:t>
            </a:r>
          </a:p>
          <a:p>
            <a:pPr marL="213995" indent="-213995">
              <a:buClr>
                <a:srgbClr val="FFC000"/>
              </a:buClr>
              <a:buFont typeface="Wingdings" charset="2"/>
              <a:buChar char=""/>
            </a:pPr>
            <a:endParaRPr lang="en-US" sz="1000" b="1" dirty="0">
              <a:latin typeface="+mj-lt"/>
              <a:cs typeface="Arial"/>
            </a:endParaRPr>
          </a:p>
          <a:p>
            <a:pPr marL="213995" indent="-213995">
              <a:buClr>
                <a:srgbClr val="FFC000"/>
              </a:buClr>
              <a:buFont typeface="Wingdings" charset="2"/>
              <a:buChar char=""/>
            </a:pPr>
            <a:r>
              <a:rPr lang="en-US" sz="1000" b="1" dirty="0">
                <a:latin typeface="+mj-lt"/>
                <a:cs typeface="Arial"/>
              </a:rPr>
              <a:t>Rework monitoring stack</a:t>
            </a:r>
          </a:p>
          <a:p>
            <a:pPr marL="213995" indent="-213995">
              <a:buClr>
                <a:srgbClr val="FFC000"/>
              </a:buClr>
              <a:buFont typeface="Wingdings" charset="2"/>
              <a:buChar char=""/>
            </a:pPr>
            <a:endParaRPr lang="en-US" sz="1000" b="1" dirty="0">
              <a:latin typeface="+mj-lt"/>
              <a:cs typeface="Arial"/>
            </a:endParaRPr>
          </a:p>
          <a:p>
            <a:pPr marL="213995" indent="-213995">
              <a:buClr>
                <a:srgbClr val="FFC000"/>
              </a:buClr>
              <a:buFont typeface="Wingdings" charset="2"/>
              <a:buChar char=""/>
            </a:pPr>
            <a:r>
              <a:rPr lang="en-US" sz="1000" b="1" dirty="0">
                <a:latin typeface="+mj-lt"/>
                <a:cs typeface="Arial"/>
              </a:rPr>
              <a:t>Dev portal with APIM integration</a:t>
            </a:r>
          </a:p>
          <a:p>
            <a:pPr>
              <a:buClr>
                <a:srgbClr val="FFC000"/>
              </a:buClr>
            </a:pPr>
            <a:endParaRPr lang="en-US" sz="1000" b="1" dirty="0">
              <a:latin typeface="+mj-lt"/>
              <a:cs typeface="Arial"/>
            </a:endParaRPr>
          </a:p>
          <a:p>
            <a:pPr marL="213995" indent="-213995">
              <a:buClr>
                <a:srgbClr val="FFC000"/>
              </a:buClr>
              <a:buFont typeface="Wingdings" charset="2"/>
              <a:buChar char=""/>
            </a:pPr>
            <a:r>
              <a:rPr lang="en-US" sz="1000" b="1" dirty="0">
                <a:latin typeface="+mj-lt"/>
                <a:ea typeface="+mn-lt"/>
                <a:cs typeface="+mn-lt"/>
              </a:rPr>
              <a:t>QuickStart for team integration (tools, process, playbook)</a:t>
            </a:r>
          </a:p>
          <a:p>
            <a:pPr marL="213995" indent="-213995">
              <a:buClr>
                <a:srgbClr val="FFC000"/>
              </a:buClr>
              <a:buFont typeface="Wingdings" charset="2"/>
              <a:buChar char=""/>
            </a:pPr>
            <a:endParaRPr lang="en-US" sz="1000" b="1" dirty="0">
              <a:latin typeface="+mj-lt"/>
              <a:cs typeface="Arial" panose="020B0604020202020204" pitchFamily="34" charset="0"/>
            </a:endParaRPr>
          </a:p>
          <a:p>
            <a:pPr marL="213995" indent="-213995">
              <a:buClr>
                <a:srgbClr val="FFC000"/>
              </a:buClr>
              <a:buFont typeface="Wingdings" charset="2"/>
              <a:buChar char=""/>
            </a:pPr>
            <a:r>
              <a:rPr lang="en-US" sz="1000" b="1" dirty="0">
                <a:latin typeface="+mj-lt"/>
                <a:cs typeface="Arial"/>
              </a:rPr>
              <a:t>Recommended development stack study</a:t>
            </a:r>
            <a:endParaRPr lang="en-US" sz="1000" b="1" dirty="0">
              <a:latin typeface="+mj-lt"/>
              <a:cs typeface="Arial" panose="020B0604020202020204" pitchFamily="34" charset="0"/>
            </a:endParaRPr>
          </a:p>
          <a:p>
            <a:pPr marL="213995" indent="-213995">
              <a:buClr>
                <a:srgbClr val="FFC000"/>
              </a:buClr>
              <a:buFont typeface="Wingdings" charset="2"/>
              <a:buChar char=""/>
            </a:pPr>
            <a:endParaRPr lang="en-US" sz="1000" b="1" dirty="0">
              <a:latin typeface="+mj-lt"/>
              <a:cs typeface="Arial"/>
            </a:endParaRPr>
          </a:p>
          <a:p>
            <a:pPr marL="213995" indent="-213995">
              <a:buClr>
                <a:srgbClr val="FFC000"/>
              </a:buClr>
              <a:buFont typeface="Wingdings" charset="2"/>
              <a:buChar char=""/>
            </a:pPr>
            <a:r>
              <a:rPr lang="en-US" sz="1000" b="1" dirty="0">
                <a:latin typeface="+mj-lt"/>
                <a:cs typeface="Arial"/>
              </a:rPr>
              <a:t>Internal API Manager : sourcing &amp; use &amp; rules</a:t>
            </a:r>
          </a:p>
          <a:p>
            <a:pPr marL="213995" indent="-213995">
              <a:buClr>
                <a:srgbClr val="FFC000"/>
              </a:buClr>
              <a:buFont typeface="Wingdings" charset="2"/>
              <a:buChar char=""/>
            </a:pPr>
            <a:endParaRPr lang="en-US" sz="1000" b="1" dirty="0">
              <a:latin typeface="+mj-lt"/>
              <a:cs typeface="Arial"/>
            </a:endParaRPr>
          </a:p>
          <a:p>
            <a:pPr marL="213995" indent="-213995">
              <a:buClr>
                <a:srgbClr val="FFC000"/>
              </a:buClr>
              <a:buFont typeface="Wingdings" charset="2"/>
              <a:buChar char=""/>
            </a:pPr>
            <a:r>
              <a:rPr lang="en-US" sz="1000" b="1" dirty="0">
                <a:latin typeface="+mj-lt"/>
                <a:cs typeface="Arial"/>
              </a:rPr>
              <a:t>Client-Facing API Manager : use &amp; rules</a:t>
            </a:r>
            <a:endParaRPr lang="en-US" dirty="0">
              <a:cs typeface="Calibri"/>
            </a:endParaRPr>
          </a:p>
          <a:p>
            <a:pPr marL="213995" indent="-213995">
              <a:buFont typeface="Wingdings,Sans-Serif" charset="2"/>
              <a:buChar char=""/>
            </a:pPr>
            <a:endParaRPr lang="en-US" dirty="0">
              <a:cs typeface="Calibri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6062893" y="1892256"/>
            <a:ext cx="2600558" cy="2991163"/>
          </a:xfrm>
          <a:prstGeom prst="rect">
            <a:avLst/>
          </a:prstGeom>
          <a:noFill/>
          <a:ln w="28575" cap="flat" cmpd="sng" algn="ctr">
            <a:solidFill>
              <a:srgbClr val="00B47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213995" indent="-213995">
              <a:buClr>
                <a:srgbClr val="00B475"/>
              </a:buClr>
              <a:buFont typeface="Wingdings" charset="2"/>
              <a:buChar char=""/>
            </a:pPr>
            <a:endParaRPr lang="en-US" sz="1000" b="1" dirty="0">
              <a:latin typeface="+mj-lt"/>
              <a:cs typeface="Arial"/>
            </a:endParaRPr>
          </a:p>
          <a:p>
            <a:pPr marL="213995" indent="-213995">
              <a:buClr>
                <a:srgbClr val="00B475"/>
              </a:buClr>
              <a:buFont typeface="Wingdings" charset="2"/>
              <a:buChar char=""/>
            </a:pPr>
            <a:r>
              <a:rPr lang="en-US" sz="1000" b="1" dirty="0">
                <a:latin typeface="+mj-lt"/>
              </a:rPr>
              <a:t>Cold data sharing capabilities </a:t>
            </a:r>
            <a:endParaRPr lang="en-US" sz="1000" b="1" dirty="0">
              <a:latin typeface="+mj-lt"/>
              <a:cs typeface="Calibri"/>
            </a:endParaRPr>
          </a:p>
          <a:p>
            <a:pPr marL="213995" indent="-213995">
              <a:buClr>
                <a:srgbClr val="00B475"/>
              </a:buClr>
              <a:buFont typeface="Wingdings" charset="2"/>
              <a:buChar char=""/>
            </a:pPr>
            <a:endParaRPr lang="en-US" sz="1000" b="1" dirty="0">
              <a:latin typeface="+mj-lt"/>
              <a:cs typeface="Calibri"/>
            </a:endParaRPr>
          </a:p>
          <a:p>
            <a:pPr marL="213995" indent="-213995">
              <a:buClr>
                <a:srgbClr val="00B475"/>
              </a:buClr>
              <a:buFont typeface="Wingdings" charset="2"/>
              <a:buChar char=""/>
            </a:pPr>
            <a:endParaRPr lang="en-US" sz="1000" b="1" dirty="0">
              <a:latin typeface="+mj-lt"/>
              <a:cs typeface="Arial"/>
            </a:endParaRPr>
          </a:p>
          <a:p>
            <a:pPr marL="213995" indent="-213995">
              <a:buClr>
                <a:srgbClr val="00B475"/>
              </a:buClr>
              <a:buFont typeface="Wingdings" charset="2"/>
              <a:buChar char=""/>
            </a:pPr>
            <a:r>
              <a:rPr lang="en-US" sz="1000" b="1" dirty="0">
                <a:latin typeface="+mj-lt"/>
                <a:cs typeface="Arial"/>
              </a:rPr>
              <a:t>API Monetization</a:t>
            </a:r>
          </a:p>
          <a:p>
            <a:pPr marL="213995" indent="-213995">
              <a:buClr>
                <a:srgbClr val="00B475"/>
              </a:buClr>
              <a:buFont typeface="Wingdings" charset="2"/>
              <a:buChar char=""/>
            </a:pPr>
            <a:endParaRPr lang="en-US" sz="1000" b="1" dirty="0">
              <a:latin typeface="+mj-lt"/>
              <a:cs typeface="Arial"/>
            </a:endParaRPr>
          </a:p>
          <a:p>
            <a:pPr marL="213995" indent="-213995">
              <a:buClr>
                <a:srgbClr val="00B475"/>
              </a:buClr>
              <a:buFont typeface="Wingdings"/>
              <a:buChar char=""/>
            </a:pPr>
            <a:r>
              <a:rPr lang="en-US" sz="1000" b="1" dirty="0">
                <a:latin typeface="+mj-lt"/>
                <a:cs typeface="Arial"/>
              </a:rPr>
              <a:t>Managed MYSQL database </a:t>
            </a:r>
            <a:r>
              <a:rPr lang="en-US" sz="1000" b="1" dirty="0">
                <a:ea typeface="+mn-lt"/>
                <a:cs typeface="+mn-lt"/>
              </a:rPr>
              <a:t>decommissioning</a:t>
            </a:r>
          </a:p>
          <a:p>
            <a:pPr marL="213995" indent="-213995">
              <a:buClr>
                <a:srgbClr val="00B475"/>
              </a:buClr>
              <a:buFont typeface="Wingdings" charset="2"/>
              <a:buChar char=""/>
            </a:pPr>
            <a:endParaRPr lang="en-US" sz="1000" b="1" dirty="0">
              <a:latin typeface="+mj-lt"/>
              <a:cs typeface="Arial"/>
            </a:endParaRPr>
          </a:p>
          <a:p>
            <a:pPr marL="213995" indent="-213995">
              <a:buClr>
                <a:srgbClr val="00B475"/>
              </a:buClr>
              <a:buFont typeface="Wingdings" charset="2"/>
              <a:buChar char=""/>
            </a:pPr>
            <a:r>
              <a:rPr lang="en-US" sz="1000" b="1" dirty="0">
                <a:latin typeface="+mj-lt"/>
                <a:cs typeface="Arial"/>
              </a:rPr>
              <a:t>Legacy authentication mechanism </a:t>
            </a:r>
            <a:r>
              <a:rPr lang="en-US" sz="1000" b="1" dirty="0">
                <a:ea typeface="+mn-lt"/>
                <a:cs typeface="+mn-lt"/>
              </a:rPr>
              <a:t>decommissioning</a:t>
            </a:r>
            <a:endParaRPr lang="en-US" sz="1000" b="1" dirty="0">
              <a:latin typeface="+mj-lt"/>
              <a:cs typeface="Arial"/>
            </a:endParaRPr>
          </a:p>
          <a:p>
            <a:pPr marL="213995" indent="-213995">
              <a:buClr>
                <a:srgbClr val="00B475"/>
              </a:buClr>
              <a:buFont typeface="Wingdings" charset="2"/>
              <a:buChar char=""/>
            </a:pPr>
            <a:endParaRPr lang="en-US" sz="1000" b="1" dirty="0">
              <a:latin typeface="+mj-lt"/>
              <a:cs typeface="Arial"/>
            </a:endParaRPr>
          </a:p>
        </p:txBody>
      </p:sp>
      <p:sp>
        <p:nvSpPr>
          <p:cNvPr id="33" name="Triangle isocèle 32"/>
          <p:cNvSpPr/>
          <p:nvPr/>
        </p:nvSpPr>
        <p:spPr bwMode="auto">
          <a:xfrm>
            <a:off x="3355257" y="1665355"/>
            <a:ext cx="2625711" cy="216024"/>
          </a:xfrm>
          <a:prstGeom prst="triangle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latin typeface="Times" pitchFamily="-104" charset="0"/>
            </a:endParaRPr>
          </a:p>
        </p:txBody>
      </p:sp>
      <p:sp>
        <p:nvSpPr>
          <p:cNvPr id="34" name="Triangle isocèle 33"/>
          <p:cNvSpPr/>
          <p:nvPr/>
        </p:nvSpPr>
        <p:spPr bwMode="auto">
          <a:xfrm>
            <a:off x="6081299" y="1665355"/>
            <a:ext cx="2106234" cy="216024"/>
          </a:xfrm>
          <a:prstGeom prst="triangle">
            <a:avLst/>
          </a:prstGeom>
          <a:solidFill>
            <a:srgbClr val="00B47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latin typeface="Times" pitchFamily="-104" charset="0"/>
            </a:endParaRPr>
          </a:p>
        </p:txBody>
      </p:sp>
      <p:sp>
        <p:nvSpPr>
          <p:cNvPr id="35" name="Triangle isocèle 34"/>
          <p:cNvSpPr/>
          <p:nvPr/>
        </p:nvSpPr>
        <p:spPr bwMode="auto">
          <a:xfrm>
            <a:off x="1447885" y="1665355"/>
            <a:ext cx="1836205" cy="216024"/>
          </a:xfrm>
          <a:prstGeom prst="triangle">
            <a:avLst/>
          </a:prstGeom>
          <a:solidFill>
            <a:srgbClr val="C00000"/>
          </a:solidFill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latin typeface="Times" pitchFamily="-104" charset="0"/>
            </a:endParaRPr>
          </a:p>
        </p:txBody>
      </p:sp>
      <p:sp>
        <p:nvSpPr>
          <p:cNvPr id="39" name="Text Placeholder 1">
            <a:extLst>
              <a:ext uri="{FF2B5EF4-FFF2-40B4-BE49-F238E27FC236}">
                <a16:creationId xmlns:a16="http://schemas.microsoft.com/office/drawing/2014/main" id="{C7BAF6BD-6FC9-4183-AD7F-9FBDA8CAE07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8793" y="194908"/>
            <a:ext cx="3708407" cy="455125"/>
          </a:xfrm>
        </p:spPr>
        <p:txBody>
          <a:bodyPr/>
          <a:lstStyle/>
          <a:p>
            <a:r>
              <a:rPr lang="en-US" sz="1800">
                <a:solidFill>
                  <a:schemeClr val="tx1">
                    <a:lumMod val="75000"/>
                    <a:lumOff val="25000"/>
                  </a:schemeClr>
                </a:solidFill>
              </a:rPr>
              <a:t>Runway Roadmap Priorities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E7F0F7D8-413A-4736-8874-A653C2758DD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503" y="99989"/>
            <a:ext cx="1172337" cy="216797"/>
          </a:xfrm>
        </p:spPr>
        <p:txBody>
          <a:bodyPr/>
          <a:lstStyle/>
          <a:p>
            <a:r>
              <a:rPr lang="en-US">
                <a:solidFill>
                  <a:srgbClr val="00CC9B"/>
                </a:solidFill>
              </a:rPr>
              <a:t>Architecture</a:t>
            </a:r>
          </a:p>
        </p:txBody>
      </p:sp>
      <p:pic>
        <p:nvPicPr>
          <p:cNvPr id="41" name="Image 40">
            <a:extLst>
              <a:ext uri="{FF2B5EF4-FFF2-40B4-BE49-F238E27FC236}">
                <a16:creationId xmlns:a16="http://schemas.microsoft.com/office/drawing/2014/main" id="{6EF04DC8-B796-44DA-B3A6-8B3D5D1590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323" y="202486"/>
            <a:ext cx="354470" cy="380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928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83954" y="133676"/>
            <a:ext cx="2531879" cy="455125"/>
          </a:xfrm>
        </p:spPr>
        <p:txBody>
          <a:bodyPr lIns="91440" tIns="45720" rIns="91440" bIns="45720" anchor="ctr"/>
          <a:lstStyle/>
          <a:p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  <a:t>Roadma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86646" y="72775"/>
            <a:ext cx="1172337" cy="216797"/>
          </a:xfrm>
        </p:spPr>
        <p:txBody>
          <a:bodyPr/>
          <a:lstStyle/>
          <a:p>
            <a:r>
              <a:rPr lang="en-US">
                <a:solidFill>
                  <a:srgbClr val="00CC9B"/>
                </a:solidFill>
              </a:rPr>
              <a:t>Architectur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0904CC6-18F1-444E-8CB3-A914CFD23B1B}"/>
              </a:ext>
            </a:extLst>
          </p:cNvPr>
          <p:cNvSpPr/>
          <p:nvPr/>
        </p:nvSpPr>
        <p:spPr>
          <a:xfrm>
            <a:off x="1727585" y="437806"/>
            <a:ext cx="3512525" cy="183315"/>
          </a:xfrm>
          <a:prstGeom prst="rect">
            <a:avLst/>
          </a:prstGeom>
          <a:solidFill>
            <a:srgbClr val="2750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800" b="1"/>
              <a:t>EVERGREEN PRINCIPLES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3DE1747E-7BC2-44F2-9781-7D6259407E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484" y="100433"/>
            <a:ext cx="354470" cy="380523"/>
          </a:xfrm>
          <a:prstGeom prst="rect">
            <a:avLst/>
          </a:prstGeom>
        </p:spPr>
      </p:pic>
      <p:graphicFrame>
        <p:nvGraphicFramePr>
          <p:cNvPr id="10" name="Tableau 10">
            <a:extLst>
              <a:ext uri="{FF2B5EF4-FFF2-40B4-BE49-F238E27FC236}">
                <a16:creationId xmlns:a16="http://schemas.microsoft.com/office/drawing/2014/main" id="{1043B396-4C6A-4033-AE65-90A2723A68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4838213"/>
              </p:ext>
            </p:extLst>
          </p:nvPr>
        </p:nvGraphicFramePr>
        <p:xfrm>
          <a:off x="88446" y="632733"/>
          <a:ext cx="8997037" cy="40544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2857">
                  <a:extLst>
                    <a:ext uri="{9D8B030D-6E8A-4147-A177-3AD203B41FA5}">
                      <a16:colId xmlns:a16="http://schemas.microsoft.com/office/drawing/2014/main" val="2244909200"/>
                    </a:ext>
                  </a:extLst>
                </a:gridCol>
                <a:gridCol w="340178">
                  <a:extLst>
                    <a:ext uri="{9D8B030D-6E8A-4147-A177-3AD203B41FA5}">
                      <a16:colId xmlns:a16="http://schemas.microsoft.com/office/drawing/2014/main" val="742131112"/>
                    </a:ext>
                  </a:extLst>
                </a:gridCol>
                <a:gridCol w="455837">
                  <a:extLst>
                    <a:ext uri="{9D8B030D-6E8A-4147-A177-3AD203B41FA5}">
                      <a16:colId xmlns:a16="http://schemas.microsoft.com/office/drawing/2014/main" val="3750626314"/>
                    </a:ext>
                  </a:extLst>
                </a:gridCol>
                <a:gridCol w="640666">
                  <a:extLst>
                    <a:ext uri="{9D8B030D-6E8A-4147-A177-3AD203B41FA5}">
                      <a16:colId xmlns:a16="http://schemas.microsoft.com/office/drawing/2014/main" val="918730237"/>
                    </a:ext>
                  </a:extLst>
                </a:gridCol>
                <a:gridCol w="489351">
                  <a:extLst>
                    <a:ext uri="{9D8B030D-6E8A-4147-A177-3AD203B41FA5}">
                      <a16:colId xmlns:a16="http://schemas.microsoft.com/office/drawing/2014/main" val="3574590323"/>
                    </a:ext>
                  </a:extLst>
                </a:gridCol>
                <a:gridCol w="561263">
                  <a:extLst>
                    <a:ext uri="{9D8B030D-6E8A-4147-A177-3AD203B41FA5}">
                      <a16:colId xmlns:a16="http://schemas.microsoft.com/office/drawing/2014/main" val="1469613158"/>
                    </a:ext>
                  </a:extLst>
                </a:gridCol>
                <a:gridCol w="484463">
                  <a:extLst>
                    <a:ext uri="{9D8B030D-6E8A-4147-A177-3AD203B41FA5}">
                      <a16:colId xmlns:a16="http://schemas.microsoft.com/office/drawing/2014/main" val="3949104970"/>
                    </a:ext>
                  </a:extLst>
                </a:gridCol>
                <a:gridCol w="547232">
                  <a:extLst>
                    <a:ext uri="{9D8B030D-6E8A-4147-A177-3AD203B41FA5}">
                      <a16:colId xmlns:a16="http://schemas.microsoft.com/office/drawing/2014/main" val="68540099"/>
                    </a:ext>
                  </a:extLst>
                </a:gridCol>
                <a:gridCol w="455838">
                  <a:extLst>
                    <a:ext uri="{9D8B030D-6E8A-4147-A177-3AD203B41FA5}">
                      <a16:colId xmlns:a16="http://schemas.microsoft.com/office/drawing/2014/main" val="3616709841"/>
                    </a:ext>
                  </a:extLst>
                </a:gridCol>
                <a:gridCol w="326569">
                  <a:extLst>
                    <a:ext uri="{9D8B030D-6E8A-4147-A177-3AD203B41FA5}">
                      <a16:colId xmlns:a16="http://schemas.microsoft.com/office/drawing/2014/main" val="3243656521"/>
                    </a:ext>
                  </a:extLst>
                </a:gridCol>
                <a:gridCol w="2188287">
                  <a:extLst>
                    <a:ext uri="{9D8B030D-6E8A-4147-A177-3AD203B41FA5}">
                      <a16:colId xmlns:a16="http://schemas.microsoft.com/office/drawing/2014/main" val="3573207289"/>
                    </a:ext>
                  </a:extLst>
                </a:gridCol>
                <a:gridCol w="874496">
                  <a:extLst>
                    <a:ext uri="{9D8B030D-6E8A-4147-A177-3AD203B41FA5}">
                      <a16:colId xmlns:a16="http://schemas.microsoft.com/office/drawing/2014/main" val="1693340606"/>
                    </a:ext>
                  </a:extLst>
                </a:gridCol>
              </a:tblGrid>
              <a:tr h="283923">
                <a:tc>
                  <a:txBody>
                    <a:bodyPr/>
                    <a:lstStyle/>
                    <a:p>
                      <a:pPr algn="ctr"/>
                      <a:r>
                        <a:rPr lang="fr-FR" sz="700"/>
                        <a:t>WHAT</a:t>
                      </a:r>
                    </a:p>
                  </a:txBody>
                  <a:tcPr marL="77434" marR="77434" marT="38717" marB="38717" anchor="ctr">
                    <a:solidFill>
                      <a:srgbClr val="00C9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/>
                        <a:t>QoS</a:t>
                      </a:r>
                    </a:p>
                  </a:txBody>
                  <a:tcPr marL="77434" marR="77434" marT="38717" marB="38717" anchor="ctr">
                    <a:solidFill>
                      <a:srgbClr val="27509B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700"/>
                        <a:t>Velocity</a:t>
                      </a:r>
                    </a:p>
                  </a:txBody>
                  <a:tcPr marL="77434" marR="77434" marT="38717" marB="38717" anchor="ctr">
                    <a:solidFill>
                      <a:srgbClr val="27509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/>
                        <a:t>Autonomy &amp; self-service</a:t>
                      </a:r>
                    </a:p>
                  </a:txBody>
                  <a:tcPr marL="77434" marR="77434" marT="38717" marB="38717" anchor="ctr">
                    <a:solidFill>
                      <a:srgbClr val="27509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/>
                        <a:t>Open to </a:t>
                      </a:r>
                      <a:r>
                        <a:rPr lang="fr-FR" sz="700" err="1"/>
                        <a:t>Partners</a:t>
                      </a:r>
                    </a:p>
                  </a:txBody>
                  <a:tcPr marL="77434" marR="77434" marT="38717" marB="38717" anchor="ctr">
                    <a:solidFill>
                      <a:srgbClr val="27509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noProof="0"/>
                        <a:t>Resilience</a:t>
                      </a:r>
                    </a:p>
                  </a:txBody>
                  <a:tcPr marL="77434" marR="77434" marT="38717" marB="38717" anchor="ctr">
                    <a:solidFill>
                      <a:srgbClr val="27509B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700" noProof="0"/>
                        <a:t>Isolation</a:t>
                      </a:r>
                    </a:p>
                  </a:txBody>
                  <a:tcPr marL="77433" marR="77433" marT="38717" marB="38717" anchor="ctr">
                    <a:solidFill>
                      <a:srgbClr val="27509B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700" noProof="0" err="1"/>
                        <a:t>Obso</a:t>
                      </a:r>
                      <a:r>
                        <a:rPr lang="en-US" sz="700" noProof="0"/>
                        <a:t> &amp; Evergreen</a:t>
                      </a:r>
                    </a:p>
                  </a:txBody>
                  <a:tcPr marL="77432" marR="77432" marT="38717" marB="38717" anchor="ctr">
                    <a:solidFill>
                      <a:srgbClr val="27509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noProof="0"/>
                        <a:t>Who</a:t>
                      </a:r>
                    </a:p>
                  </a:txBody>
                  <a:tcPr marL="77434" marR="77434" marT="38717" marB="38717" anchor="ctr">
                    <a:solidFill>
                      <a:srgbClr val="00C9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noProof="0"/>
                        <a:t>Jira Link</a:t>
                      </a:r>
                    </a:p>
                  </a:txBody>
                  <a:tcPr marL="77434" marR="77434" marT="38717" marB="38717" anchor="ctr">
                    <a:solidFill>
                      <a:srgbClr val="00C9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noProof="0"/>
                        <a:t>Business enabler</a:t>
                      </a:r>
                    </a:p>
                  </a:txBody>
                  <a:tcPr marL="77434" marR="77434" marT="38717" marB="38717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noProof="0"/>
                        <a:t>Subject business linked</a:t>
                      </a:r>
                    </a:p>
                  </a:txBody>
                  <a:tcPr marL="77434" marR="77434" marT="38717" marB="38717" anchor="ctr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9483531"/>
                  </a:ext>
                </a:extLst>
              </a:tr>
              <a:tr h="211292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None/>
                      </a:pPr>
                      <a:r>
                        <a:rPr lang="fr-FR" sz="700" b="1" i="0" u="none" strike="noStrike" noProof="0">
                          <a:latin typeface="Calibri"/>
                        </a:rPr>
                        <a:t>Kafka confluent cloud migration</a:t>
                      </a:r>
                      <a:endParaRPr lang="en-US" sz="700" b="0" i="0" u="none" strike="noStrike" noProof="0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/>
                        <a:t>DevOps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noProof="0"/>
                        <a:t>Ingest and </a:t>
                      </a:r>
                      <a:r>
                        <a:rPr lang="en-US" sz="700" noProof="0" err="1"/>
                        <a:t>distribue</a:t>
                      </a:r>
                      <a:r>
                        <a:rPr lang="en-US" sz="700" noProof="0"/>
                        <a:t> data flow to external clients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700" noProof="0"/>
                        <a:t>Bluesky, RFID</a:t>
                      </a:r>
                    </a:p>
                  </a:txBody>
                  <a:tcPr marL="77434" marR="77434" marT="38717" marB="38717" anchor="ctr"/>
                </a:tc>
                <a:extLst>
                  <a:ext uri="{0D108BD9-81ED-4DB2-BD59-A6C34878D82A}">
                    <a16:rowId xmlns:a16="http://schemas.microsoft.com/office/drawing/2014/main" val="2496545565"/>
                  </a:ext>
                </a:extLst>
              </a:tr>
              <a:tr h="211292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FR" sz="700" b="1" i="0" u="none" strike="noStrike" noProof="0">
                          <a:latin typeface="Calibri"/>
                        </a:rPr>
                        <a:t>MongoDB Atlas migration</a:t>
                      </a:r>
                      <a:endParaRPr lang="fr-FR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700" b="0" i="0" u="none" strike="noStrike" noProof="0">
                          <a:latin typeface="Calibri"/>
                        </a:rPr>
                        <a:t>DevOps</a:t>
                      </a:r>
                      <a:endParaRPr lang="fr-FR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noProof="0"/>
                        <a:t>Secure SLA &amp; NFR, enable self-service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700" noProof="0"/>
                        <a:t>Feature Team</a:t>
                      </a:r>
                    </a:p>
                  </a:txBody>
                  <a:tcPr marL="77434" marR="77434" marT="38717" marB="38717" anchor="ctr"/>
                </a:tc>
                <a:extLst>
                  <a:ext uri="{0D108BD9-81ED-4DB2-BD59-A6C34878D82A}">
                    <a16:rowId xmlns:a16="http://schemas.microsoft.com/office/drawing/2014/main" val="3924694993"/>
                  </a:ext>
                </a:extLst>
              </a:tr>
              <a:tr h="204689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700" b="1" i="0" u="none" strike="noStrike" noProof="0">
                          <a:latin typeface="Calibri"/>
                        </a:rPr>
                        <a:t>Support on Feature team migration</a:t>
                      </a:r>
                      <a:endParaRPr lang="fr-FR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/>
                        <a:t>Archi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noProof="0"/>
                        <a:t>Improve autonomy and velocity, reduce time to market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700" noProof="0"/>
                        <a:t>All</a:t>
                      </a:r>
                    </a:p>
                  </a:txBody>
                  <a:tcPr marL="77434" marR="77434" marT="38717" marB="38717" anchor="ctr"/>
                </a:tc>
                <a:extLst>
                  <a:ext uri="{0D108BD9-81ED-4DB2-BD59-A6C34878D82A}">
                    <a16:rowId xmlns:a16="http://schemas.microsoft.com/office/drawing/2014/main" val="1288254976"/>
                  </a:ext>
                </a:extLst>
              </a:tr>
              <a:tr h="204689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None/>
                      </a:pPr>
                      <a:r>
                        <a:rPr lang="en-US" sz="700" b="1" i="0" u="none" strike="noStrike" noProof="0" err="1">
                          <a:latin typeface="Calibri"/>
                        </a:rPr>
                        <a:t>Datascientist</a:t>
                      </a:r>
                      <a:r>
                        <a:rPr lang="en-US" sz="700" b="1" i="0" u="none" strike="noStrike" noProof="0">
                          <a:latin typeface="Calibri"/>
                        </a:rPr>
                        <a:t> journey enhancement</a:t>
                      </a:r>
                      <a:endParaRPr lang="en-US" sz="700" b="0" i="0" u="none" strike="noStrike" noProof="0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700" b="0" i="0" u="none" strike="noStrike" noProof="0">
                          <a:latin typeface="Calibri"/>
                        </a:rPr>
                        <a:t>Archi</a:t>
                      </a:r>
                      <a:endParaRPr lang="fr-FR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prove </a:t>
                      </a:r>
                      <a:r>
                        <a:rPr lang="en-US" sz="700" kern="1200" noProof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tascientist</a:t>
                      </a:r>
                      <a:r>
                        <a:rPr lang="en-US" sz="7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experience &amp; insight distribution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fr-FR" sz="700" b="0" i="0" u="none" strike="noStrike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PoC</a:t>
                      </a:r>
                      <a:r>
                        <a:rPr lang="fr-FR" sz="7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 &amp; Explo</a:t>
                      </a:r>
                    </a:p>
                  </a:txBody>
                  <a:tcPr marL="77434" marR="77434" marT="38717" marB="38717" anchor="ctr"/>
                </a:tc>
                <a:extLst>
                  <a:ext uri="{0D108BD9-81ED-4DB2-BD59-A6C34878D82A}">
                    <a16:rowId xmlns:a16="http://schemas.microsoft.com/office/drawing/2014/main" val="4289511881"/>
                  </a:ext>
                </a:extLst>
              </a:tr>
              <a:tr h="204689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FR" sz="700" b="1" i="0" u="none" strike="noStrike" noProof="0">
                          <a:latin typeface="Calibri"/>
                        </a:rPr>
                        <a:t>VMWare </a:t>
                      </a:r>
                      <a:r>
                        <a:rPr lang="fr-FR" sz="700" b="1" i="0" u="none" strike="noStrike" noProof="0" err="1">
                          <a:latin typeface="Calibri"/>
                        </a:rPr>
                        <a:t>Tanzu</a:t>
                      </a:r>
                      <a:r>
                        <a:rPr lang="fr-FR" sz="700" b="1" i="0" u="none" strike="noStrike" noProof="0">
                          <a:latin typeface="Calibri"/>
                        </a:rPr>
                        <a:t> migration</a:t>
                      </a:r>
                      <a:endParaRPr lang="fr-FR" sz="7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/>
                        <a:t>DevOps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noProof="0"/>
                        <a:t>-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noProof="0"/>
                        <a:t>-</a:t>
                      </a:r>
                    </a:p>
                  </a:txBody>
                  <a:tcPr marL="77434" marR="77434" marT="38717" marB="38717" anchor="ctr"/>
                </a:tc>
                <a:extLst>
                  <a:ext uri="{0D108BD9-81ED-4DB2-BD59-A6C34878D82A}">
                    <a16:rowId xmlns:a16="http://schemas.microsoft.com/office/drawing/2014/main" val="2349415155"/>
                  </a:ext>
                </a:extLst>
              </a:tr>
              <a:tr h="204689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None/>
                      </a:pPr>
                      <a:r>
                        <a:rPr lang="en-US" sz="700" b="1" i="0" u="none" strike="noStrike" noProof="0" dirty="0">
                          <a:latin typeface="Calibri"/>
                        </a:rPr>
                        <a:t>Multi-zones study to meet SLR</a:t>
                      </a:r>
                      <a:endParaRPr lang="en-US" sz="700" b="0" i="0" u="none" strike="noStrike" noProof="0" dirty="0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/>
                        <a:t>Archi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700" b="0" i="0" u="none" strike="noStrike" noProof="0">
                          <a:latin typeface="Calibri"/>
                        </a:rPr>
                        <a:t>Low latency &amp; high performance for critical business UC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noProof="0"/>
                        <a:t>TTID CHN, RFID</a:t>
                      </a:r>
                    </a:p>
                  </a:txBody>
                  <a:tcPr marL="77434" marR="77434" marT="38717" marB="38717" anchor="ctr"/>
                </a:tc>
                <a:extLst>
                  <a:ext uri="{0D108BD9-81ED-4DB2-BD59-A6C34878D82A}">
                    <a16:rowId xmlns:a16="http://schemas.microsoft.com/office/drawing/2014/main" val="2270510284"/>
                  </a:ext>
                </a:extLst>
              </a:tr>
              <a:tr h="211292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None/>
                      </a:pPr>
                      <a:r>
                        <a:rPr lang="en-US" sz="700" b="1" i="0" u="none" strike="noStrike" noProof="0" dirty="0">
                          <a:latin typeface="Calibri"/>
                        </a:rPr>
                        <a:t>DRP strategy on critical use case</a:t>
                      </a:r>
                      <a:endParaRPr lang="en-US" sz="700" b="0" i="0" u="none" strike="noStrike" noProof="0" dirty="0"/>
                    </a:p>
                  </a:txBody>
                  <a:tcPr marL="77433" marR="77433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fr-FR"/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fr-FR"/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700" b="0" i="0" u="none" strike="noStrike" noProof="0"/>
                        <a:t>Archi</a:t>
                      </a:r>
                      <a:endParaRPr lang="fr-FR"/>
                    </a:p>
                  </a:txBody>
                  <a:tcPr marL="77433" marR="77433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700"/>
                    </a:p>
                  </a:txBody>
                  <a:tcPr marL="77433" marR="77433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700" b="0" i="0" u="none" strike="noStrike" kern="1200" noProof="0"/>
                        <a:t>Reduce MTTR to fast recover business processes</a:t>
                      </a:r>
                      <a:endParaRPr lang="fr-FR"/>
                    </a:p>
                  </a:txBody>
                  <a:tcPr marL="77433" marR="77433" marT="38717" marB="38717"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700" noProof="0"/>
                        <a:t>RFID &amp; </a:t>
                      </a:r>
                      <a:r>
                        <a:rPr lang="en-US" sz="700" noProof="0" err="1"/>
                        <a:t>SeS</a:t>
                      </a:r>
                      <a:r>
                        <a:rPr lang="en-US" sz="700" noProof="0"/>
                        <a:t> offers</a:t>
                      </a:r>
                      <a:endParaRPr lang="fr-FR"/>
                    </a:p>
                  </a:txBody>
                  <a:tcPr marL="77433" marR="77433" marT="38717" marB="38717" anchor="ctr"/>
                </a:tc>
                <a:extLst>
                  <a:ext uri="{0D108BD9-81ED-4DB2-BD59-A6C34878D82A}">
                    <a16:rowId xmlns:a16="http://schemas.microsoft.com/office/drawing/2014/main" val="3293271332"/>
                  </a:ext>
                </a:extLst>
              </a:tr>
              <a:tr h="211292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700" b="1" i="0" u="none" strike="noStrike" noProof="0">
                          <a:latin typeface="Calibri"/>
                        </a:rPr>
                        <a:t>IoT platform integration</a:t>
                      </a:r>
                      <a:endParaRPr lang="fr-FR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/>
                        <a:t>DevOps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noProof="0"/>
                        <a:t>Facilitate IoT device management &amp; lifecycle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noProof="0"/>
                        <a:t>-</a:t>
                      </a:r>
                    </a:p>
                  </a:txBody>
                  <a:tcPr marL="77434" marR="77434" marT="38717" marB="38717" anchor="ctr"/>
                </a:tc>
                <a:extLst>
                  <a:ext uri="{0D108BD9-81ED-4DB2-BD59-A6C34878D82A}">
                    <a16:rowId xmlns:a16="http://schemas.microsoft.com/office/drawing/2014/main" val="1994336681"/>
                  </a:ext>
                </a:extLst>
              </a:tr>
              <a:tr h="211292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700" b="1" i="0" u="none" strike="noStrike" noProof="0">
                          <a:latin typeface="Calibri"/>
                        </a:rPr>
                        <a:t>Rework monitoring stack</a:t>
                      </a:r>
                      <a:endParaRPr lang="fr-FR" sz="7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700" b="0" i="0" u="none" strike="noStrike" noProof="0">
                          <a:latin typeface="Calibri"/>
                        </a:rPr>
                        <a:t>DevOps</a:t>
                      </a:r>
                      <a:endParaRPr lang="fr-FR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700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vide business metrics, indicator and logs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700" noProof="0"/>
                        <a:t>-</a:t>
                      </a:r>
                    </a:p>
                  </a:txBody>
                  <a:tcPr marL="77434" marR="77434" marT="38717" marB="38717" anchor="ctr"/>
                </a:tc>
                <a:extLst>
                  <a:ext uri="{0D108BD9-81ED-4DB2-BD59-A6C34878D82A}">
                    <a16:rowId xmlns:a16="http://schemas.microsoft.com/office/drawing/2014/main" val="2173131620"/>
                  </a:ext>
                </a:extLst>
              </a:tr>
              <a:tr h="204689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700" b="1" i="0" u="none" strike="noStrike" noProof="0">
                          <a:latin typeface="Calibri"/>
                        </a:rPr>
                        <a:t>Dev portal with APIM integration</a:t>
                      </a:r>
                      <a:endParaRPr lang="fr-FR" sz="7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/>
                        <a:t>Dev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700" b="0" i="0" u="none" strike="noStrike" noProof="0">
                          <a:latin typeface="Calibri"/>
                        </a:rPr>
                        <a:t>Distribute customer-oriented API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700" b="0" i="0" u="none" strike="noStrike" noProof="0">
                          <a:latin typeface="Calibri"/>
                        </a:rPr>
                        <a:t>RFID, </a:t>
                      </a:r>
                      <a:r>
                        <a:rPr lang="en-US" sz="700" b="0" i="0" u="none" strike="noStrike" noProof="0" err="1">
                          <a:latin typeface="Calibri"/>
                        </a:rPr>
                        <a:t>Smartwear</a:t>
                      </a:r>
                    </a:p>
                  </a:txBody>
                  <a:tcPr marL="77434" marR="77434" marT="38717" marB="38717" anchor="ctr"/>
                </a:tc>
                <a:extLst>
                  <a:ext uri="{0D108BD9-81ED-4DB2-BD59-A6C34878D82A}">
                    <a16:rowId xmlns:a16="http://schemas.microsoft.com/office/drawing/2014/main" val="3432140289"/>
                  </a:ext>
                </a:extLst>
              </a:tr>
              <a:tr h="211292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FR" sz="700" b="1" i="0" u="none" strike="noStrike" noProof="0" err="1">
                          <a:latin typeface="Calibri"/>
                        </a:rPr>
                        <a:t>Quickstart</a:t>
                      </a:r>
                      <a:r>
                        <a:rPr lang="fr-FR" sz="700" b="1" i="0" u="none" strike="noStrike" noProof="0">
                          <a:latin typeface="Calibri"/>
                        </a:rPr>
                        <a:t> for team </a:t>
                      </a:r>
                      <a:r>
                        <a:rPr lang="fr-FR" sz="700" b="1" i="0" u="none" strike="noStrike" noProof="0" err="1">
                          <a:latin typeface="Calibri"/>
                        </a:rPr>
                        <a:t>integration</a:t>
                      </a:r>
                      <a:endParaRPr lang="fr-FR" sz="700" b="1" err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/>
                        <a:t>DevOps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700" b="0" i="0" u="none" strike="noStrike" noProof="0">
                          <a:solidFill>
                            <a:schemeClr val="dk1"/>
                          </a:solidFill>
                          <a:latin typeface="Calibri"/>
                        </a:rPr>
                        <a:t>Provide technical support and reduce time to market</a:t>
                      </a:r>
                      <a:endParaRPr lang="fr-FR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700" b="0" i="0" u="none" strike="noStrike" noProof="0">
                          <a:latin typeface="Calibri"/>
                        </a:rPr>
                        <a:t>Switch to Feature T</a:t>
                      </a:r>
                    </a:p>
                  </a:txBody>
                  <a:tcPr marL="77434" marR="77434" marT="38717" marB="38717" anchor="ctr"/>
                </a:tc>
                <a:extLst>
                  <a:ext uri="{0D108BD9-81ED-4DB2-BD59-A6C34878D82A}">
                    <a16:rowId xmlns:a16="http://schemas.microsoft.com/office/drawing/2014/main" val="1882595845"/>
                  </a:ext>
                </a:extLst>
              </a:tr>
              <a:tr h="211292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700" b="1" i="0" u="none" strike="noStrike" noProof="0">
                          <a:latin typeface="Calibri"/>
                        </a:rPr>
                        <a:t>Recommended development stack 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/>
                        <a:t>Dev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700" b="0" i="0" u="none" strike="noStrike" noProof="0">
                          <a:solidFill>
                            <a:schemeClr val="dk1"/>
                          </a:solidFill>
                          <a:latin typeface="Calibri"/>
                        </a:rPr>
                        <a:t>Provide technical support and reduce time to market</a:t>
                      </a:r>
                      <a:endParaRPr lang="fr-FR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700" b="0" i="0" u="none" strike="noStrike" noProof="0">
                          <a:latin typeface="Calibri"/>
                        </a:rPr>
                        <a:t>Switch to Feature T</a:t>
                      </a:r>
                    </a:p>
                  </a:txBody>
                  <a:tcPr marL="77434" marR="77434" marT="38717" marB="38717" anchor="ctr"/>
                </a:tc>
                <a:extLst>
                  <a:ext uri="{0D108BD9-81ED-4DB2-BD59-A6C34878D82A}">
                    <a16:rowId xmlns:a16="http://schemas.microsoft.com/office/drawing/2014/main" val="2045023379"/>
                  </a:ext>
                </a:extLst>
              </a:tr>
              <a:tr h="204689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None/>
                      </a:pPr>
                      <a:r>
                        <a:rPr lang="fr-FR" sz="700" b="1" i="0" u="none" strike="noStrike" noProof="0" err="1">
                          <a:latin typeface="Calibri"/>
                        </a:rPr>
                        <a:t>Internal</a:t>
                      </a:r>
                      <a:r>
                        <a:rPr lang="fr-FR" sz="700" b="1" i="0" u="none" strike="noStrike" noProof="0">
                          <a:latin typeface="Calibri"/>
                        </a:rPr>
                        <a:t> API Manager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700" b="0" i="0" u="none" strike="noStrike" noProof="0">
                          <a:latin typeface="Calibri"/>
                        </a:rPr>
                        <a:t>DevOps</a:t>
                      </a:r>
                      <a:endParaRPr lang="fr-FR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700" b="0" i="0" u="none" strike="noStrike" noProof="0">
                          <a:latin typeface="Calibri"/>
                        </a:rPr>
                        <a:t>Support internal API, define quota &amp; policies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noProof="0"/>
                        <a:t>RGPD</a:t>
                      </a:r>
                    </a:p>
                  </a:txBody>
                  <a:tcPr marL="77434" marR="77434" marT="38717" marB="38717" anchor="ctr"/>
                </a:tc>
                <a:extLst>
                  <a:ext uri="{0D108BD9-81ED-4DB2-BD59-A6C34878D82A}">
                    <a16:rowId xmlns:a16="http://schemas.microsoft.com/office/drawing/2014/main" val="3170357591"/>
                  </a:ext>
                </a:extLst>
              </a:tr>
              <a:tr h="211292">
                <a:tc>
                  <a:txBody>
                    <a:bodyPr/>
                    <a:lstStyle/>
                    <a:p>
                      <a:pPr lvl="0">
                        <a:lnSpc>
                          <a:spcPct val="107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fr-FR" sz="700" b="1" i="0" u="none" strike="noStrike" noProof="0">
                          <a:effectLst/>
                          <a:latin typeface="Calibri"/>
                        </a:rPr>
                        <a:t>Client-</a:t>
                      </a:r>
                      <a:r>
                        <a:rPr lang="fr-FR" sz="700" b="1" i="0" u="none" strike="noStrike" noProof="0" err="1">
                          <a:effectLst/>
                          <a:latin typeface="Calibri"/>
                        </a:rPr>
                        <a:t>facing</a:t>
                      </a:r>
                      <a:r>
                        <a:rPr lang="fr-FR" sz="700" b="1" i="0" u="none" strike="noStrike" noProof="0">
                          <a:effectLst/>
                          <a:latin typeface="Calibri"/>
                        </a:rPr>
                        <a:t> API Manager : use &amp; </a:t>
                      </a:r>
                      <a:r>
                        <a:rPr lang="fr-FR" sz="700" b="1" i="0" u="none" strike="noStrike" noProof="0" err="1">
                          <a:effectLst/>
                          <a:latin typeface="Calibri"/>
                        </a:rPr>
                        <a:t>rules</a:t>
                      </a:r>
                      <a:endParaRPr lang="fr-FR" sz="700" b="1">
                        <a:solidFill>
                          <a:srgbClr val="404040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77433" marR="77433" marT="38717" marB="38717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fr-FR"/>
                    </a:p>
                  </a:txBody>
                  <a:tcPr marL="9524" marR="9524" marT="9524" marB="0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fr-FR"/>
                    </a:p>
                  </a:txBody>
                  <a:tcPr marL="9524" marR="9524" marT="9524" marB="0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</a:p>
                  </a:txBody>
                  <a:tcPr marL="9524" marR="9524" marT="9524" marB="0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fr-FR"/>
                    </a:p>
                  </a:txBody>
                  <a:tcPr marL="9524" marR="9524" marT="9524" marB="0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700" b="0" i="0" u="none" strike="noStrike" noProof="0">
                          <a:latin typeface="Calibri"/>
                        </a:rPr>
                        <a:t>DevOps</a:t>
                      </a:r>
                      <a:endParaRPr lang="fr-FR"/>
                    </a:p>
                  </a:txBody>
                  <a:tcPr marL="77433" marR="77433" marT="38717" marB="38717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700"/>
                    </a:p>
                  </a:txBody>
                  <a:tcPr marL="77433" marR="77433" marT="38717" marB="38717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700" noProof="0"/>
                        <a:t>Support customer-oriented API, define quota &amp; policies</a:t>
                      </a:r>
                    </a:p>
                  </a:txBody>
                  <a:tcPr marL="77433" marR="77433" marT="38717" marB="38717"/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700" noProof="0"/>
                        <a:t>All</a:t>
                      </a:r>
                      <a:endParaRPr lang="fr-FR"/>
                    </a:p>
                  </a:txBody>
                  <a:tcPr marL="77433" marR="77433" marT="38717" marB="38717"/>
                </a:tc>
                <a:extLst>
                  <a:ext uri="{0D108BD9-81ED-4DB2-BD59-A6C34878D82A}">
                    <a16:rowId xmlns:a16="http://schemas.microsoft.com/office/drawing/2014/main" val="2735871996"/>
                  </a:ext>
                </a:extLst>
              </a:tr>
              <a:tr h="211292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700" b="1" i="0" u="none" strike="noStrike" noProof="0" dirty="0">
                          <a:latin typeface="Calibri"/>
                        </a:rPr>
                        <a:t>Cold data sharing capabilities</a:t>
                      </a:r>
                      <a:endParaRPr lang="fr-FR" sz="7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/>
                        <a:t>DevOps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endParaRPr lang="fr-FR" sz="700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noProof="0"/>
                        <a:t>Share dataset to partners &amp; customers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noProof="0" dirty="0"/>
                        <a:t>-</a:t>
                      </a:r>
                    </a:p>
                  </a:txBody>
                  <a:tcPr marL="77434" marR="77434" marT="38717" marB="38717" anchor="ctr"/>
                </a:tc>
                <a:extLst>
                  <a:ext uri="{0D108BD9-81ED-4DB2-BD59-A6C34878D82A}">
                    <a16:rowId xmlns:a16="http://schemas.microsoft.com/office/drawing/2014/main" val="1122693963"/>
                  </a:ext>
                </a:extLst>
              </a:tr>
              <a:tr h="211292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700" b="1" i="0" u="none" strike="noStrike" noProof="0" dirty="0">
                          <a:latin typeface="Calibri"/>
                        </a:rPr>
                        <a:t>API Monetization</a:t>
                      </a:r>
                      <a:endParaRPr lang="fr-FR" dirty="0"/>
                    </a:p>
                  </a:txBody>
                  <a:tcPr marL="77432" marR="77432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700"/>
                        <a:t>Archi</a:t>
                      </a:r>
                    </a:p>
                  </a:txBody>
                  <a:tcPr marL="77432" marR="77432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700"/>
                    </a:p>
                  </a:txBody>
                  <a:tcPr marL="77432" marR="77432" marT="38717" marB="38717"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700" b="0" i="0" u="none" strike="noStrike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pport API monetization</a:t>
                      </a:r>
                    </a:p>
                  </a:txBody>
                  <a:tcPr marL="77432" marR="77432" marT="38717" marB="38717" anchor="ctr"/>
                </a:tc>
                <a:tc>
                  <a:txBody>
                    <a:bodyPr/>
                    <a:lstStyle/>
                    <a:p>
                      <a:pPr marL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700" noProof="0" dirty="0"/>
                        <a:t>RFID</a:t>
                      </a:r>
                    </a:p>
                  </a:txBody>
                  <a:tcPr marL="77432" marR="77432" marT="38717" marB="38717" anchor="ctr"/>
                </a:tc>
                <a:extLst>
                  <a:ext uri="{0D108BD9-81ED-4DB2-BD59-A6C34878D82A}">
                    <a16:rowId xmlns:a16="http://schemas.microsoft.com/office/drawing/2014/main" val="3742006789"/>
                  </a:ext>
                </a:extLst>
              </a:tr>
              <a:tr h="211292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700" b="1" i="0" u="none" strike="noStrike" noProof="0">
                          <a:latin typeface="Calibri"/>
                        </a:rPr>
                        <a:t>MYSQL database decommissioning</a:t>
                      </a:r>
                      <a:endParaRPr lang="fr-FR"/>
                    </a:p>
                  </a:txBody>
                  <a:tcPr marL="77432" marR="77432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700" b="0" i="0" u="none" strike="noStrike" noProof="0">
                          <a:latin typeface="Calibri"/>
                        </a:rPr>
                        <a:t>DevOps</a:t>
                      </a:r>
                      <a:endParaRPr lang="fr-FR"/>
                    </a:p>
                  </a:txBody>
                  <a:tcPr marL="77432" marR="77432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700"/>
                    </a:p>
                  </a:txBody>
                  <a:tcPr marL="77432" marR="77432" marT="38717" marB="38717"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700" b="0" i="0" u="none" strike="noStrike" kern="1200" noProof="0">
                          <a:solidFill>
                            <a:schemeClr val="dk1"/>
                          </a:solidFill>
                          <a:latin typeface="Calibri"/>
                        </a:rPr>
                        <a:t>-</a:t>
                      </a:r>
                      <a:endParaRPr lang="fr-FR"/>
                    </a:p>
                  </a:txBody>
                  <a:tcPr marL="77432" marR="77432" marT="38717" marB="38717" anchor="ctr"/>
                </a:tc>
                <a:tc>
                  <a:txBody>
                    <a:bodyPr/>
                    <a:lstStyle/>
                    <a:p>
                      <a:pPr marL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700" noProof="0"/>
                        <a:t>-</a:t>
                      </a:r>
                    </a:p>
                  </a:txBody>
                  <a:tcPr marL="77432" marR="77432" marT="38717" marB="38717" anchor="ctr"/>
                </a:tc>
                <a:extLst>
                  <a:ext uri="{0D108BD9-81ED-4DB2-BD59-A6C34878D82A}">
                    <a16:rowId xmlns:a16="http://schemas.microsoft.com/office/drawing/2014/main" val="2684305683"/>
                  </a:ext>
                </a:extLst>
              </a:tr>
              <a:tr h="211292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700" b="1" i="0" u="none" strike="noStrike" noProof="0">
                          <a:latin typeface="Calibri"/>
                        </a:rPr>
                        <a:t>Legacy authentication decom</a:t>
                      </a:r>
                      <a:endParaRPr lang="fr-FR"/>
                    </a:p>
                  </a:txBody>
                  <a:tcPr marL="77432" marR="77432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</a:t>
                      </a: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700" b="0" i="0" u="none" strike="noStrike" noProof="0">
                          <a:latin typeface="Calibri"/>
                        </a:rPr>
                        <a:t>DevOps</a:t>
                      </a:r>
                      <a:endParaRPr lang="fr-FR"/>
                    </a:p>
                  </a:txBody>
                  <a:tcPr marL="77432" marR="77432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fr-FR" sz="700"/>
                    </a:p>
                  </a:txBody>
                  <a:tcPr marL="77432" marR="77432" marT="38717" marB="38717" anchor="ctr"/>
                </a:tc>
                <a:tc>
                  <a:txBody>
                    <a:bodyPr/>
                    <a:lstStyle/>
                    <a:p>
                      <a:pPr marL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700" b="0" i="0" u="none" strike="noStrike" kern="1200" noProof="0">
                          <a:solidFill>
                            <a:schemeClr val="dk1"/>
                          </a:solidFill>
                          <a:latin typeface="Calibri"/>
                        </a:rPr>
                        <a:t>-</a:t>
                      </a:r>
                      <a:endParaRPr lang="fr-FR"/>
                    </a:p>
                  </a:txBody>
                  <a:tcPr marL="77432" marR="77432" marT="38717" marB="38717" anchor="ctr"/>
                </a:tc>
                <a:tc>
                  <a:txBody>
                    <a:bodyPr/>
                    <a:lstStyle/>
                    <a:p>
                      <a:pPr marL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700" noProof="0" dirty="0"/>
                        <a:t>-</a:t>
                      </a:r>
                    </a:p>
                  </a:txBody>
                  <a:tcPr marL="77432" marR="77432" marT="38717" marB="38717" anchor="ctr"/>
                </a:tc>
                <a:extLst>
                  <a:ext uri="{0D108BD9-81ED-4DB2-BD59-A6C34878D82A}">
                    <a16:rowId xmlns:a16="http://schemas.microsoft.com/office/drawing/2014/main" val="2042640611"/>
                  </a:ext>
                </a:extLst>
              </a:tr>
            </a:tbl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391EA072-07FE-42A4-B0DB-7B0C14069A2D}"/>
              </a:ext>
            </a:extLst>
          </p:cNvPr>
          <p:cNvSpPr/>
          <p:nvPr/>
        </p:nvSpPr>
        <p:spPr>
          <a:xfrm>
            <a:off x="6025430" y="453194"/>
            <a:ext cx="3058500" cy="162905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800" b="1"/>
              <a:t>IT for BUSINESS</a:t>
            </a:r>
          </a:p>
        </p:txBody>
      </p:sp>
    </p:spTree>
    <p:extLst>
      <p:ext uri="{BB962C8B-B14F-4D97-AF65-F5344CB8AC3E}">
        <p14:creationId xmlns:p14="http://schemas.microsoft.com/office/powerpoint/2010/main" val="3398697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58793" y="147283"/>
            <a:ext cx="2531879" cy="455125"/>
          </a:xfrm>
        </p:spPr>
        <p:txBody>
          <a:bodyPr/>
          <a:lstStyle/>
          <a:p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</a:rPr>
              <a:t>Workloa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95503" y="99989"/>
            <a:ext cx="1172337" cy="216797"/>
          </a:xfrm>
        </p:spPr>
        <p:txBody>
          <a:bodyPr/>
          <a:lstStyle/>
          <a:p>
            <a:r>
              <a:rPr lang="en-US">
                <a:solidFill>
                  <a:srgbClr val="00CC9B"/>
                </a:solidFill>
              </a:rPr>
              <a:t>Architecture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3DE1747E-7BC2-44F2-9781-7D6259407E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323" y="127647"/>
            <a:ext cx="354470" cy="380523"/>
          </a:xfrm>
          <a:prstGeom prst="rect">
            <a:avLst/>
          </a:prstGeom>
        </p:spPr>
      </p:pic>
      <p:graphicFrame>
        <p:nvGraphicFramePr>
          <p:cNvPr id="10" name="Tableau 10">
            <a:extLst>
              <a:ext uri="{FF2B5EF4-FFF2-40B4-BE49-F238E27FC236}">
                <a16:creationId xmlns:a16="http://schemas.microsoft.com/office/drawing/2014/main" id="{1043B396-4C6A-4033-AE65-90A2723A68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0225161"/>
              </p:ext>
            </p:extLst>
          </p:nvPr>
        </p:nvGraphicFramePr>
        <p:xfrm>
          <a:off x="578303" y="585106"/>
          <a:ext cx="8033541" cy="40016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3213">
                  <a:extLst>
                    <a:ext uri="{9D8B030D-6E8A-4147-A177-3AD203B41FA5}">
                      <a16:colId xmlns:a16="http://schemas.microsoft.com/office/drawing/2014/main" val="2244909200"/>
                    </a:ext>
                  </a:extLst>
                </a:gridCol>
                <a:gridCol w="1152265">
                  <a:extLst>
                    <a:ext uri="{9D8B030D-6E8A-4147-A177-3AD203B41FA5}">
                      <a16:colId xmlns:a16="http://schemas.microsoft.com/office/drawing/2014/main" val="922471121"/>
                    </a:ext>
                  </a:extLst>
                </a:gridCol>
                <a:gridCol w="1152265">
                  <a:extLst>
                    <a:ext uri="{9D8B030D-6E8A-4147-A177-3AD203B41FA5}">
                      <a16:colId xmlns:a16="http://schemas.microsoft.com/office/drawing/2014/main" val="742131112"/>
                    </a:ext>
                  </a:extLst>
                </a:gridCol>
                <a:gridCol w="884658">
                  <a:extLst>
                    <a:ext uri="{9D8B030D-6E8A-4147-A177-3AD203B41FA5}">
                      <a16:colId xmlns:a16="http://schemas.microsoft.com/office/drawing/2014/main" val="3750626314"/>
                    </a:ext>
                  </a:extLst>
                </a:gridCol>
                <a:gridCol w="884658">
                  <a:extLst>
                    <a:ext uri="{9D8B030D-6E8A-4147-A177-3AD203B41FA5}">
                      <a16:colId xmlns:a16="http://schemas.microsoft.com/office/drawing/2014/main" val="1257869145"/>
                    </a:ext>
                  </a:extLst>
                </a:gridCol>
                <a:gridCol w="1076482">
                  <a:extLst>
                    <a:ext uri="{9D8B030D-6E8A-4147-A177-3AD203B41FA5}">
                      <a16:colId xmlns:a16="http://schemas.microsoft.com/office/drawing/2014/main" val="918730237"/>
                    </a:ext>
                  </a:extLst>
                </a:gridCol>
              </a:tblGrid>
              <a:tr h="313003">
                <a:tc>
                  <a:txBody>
                    <a:bodyPr/>
                    <a:lstStyle/>
                    <a:p>
                      <a:pPr algn="ctr"/>
                      <a:r>
                        <a:rPr lang="fr-FR" sz="800"/>
                        <a:t>WHAT</a:t>
                      </a:r>
                    </a:p>
                  </a:txBody>
                  <a:tcPr marL="77434" marR="77434" marT="38717" marB="38717" anchor="ctr">
                    <a:solidFill>
                      <a:srgbClr val="00C9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/>
                        <a:t>To Do</a:t>
                      </a:r>
                    </a:p>
                  </a:txBody>
                  <a:tcPr marL="77434" marR="77434" marT="38717" marB="38717" anchor="ctr">
                    <a:solidFill>
                      <a:srgbClr val="27509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/>
                        <a:t>Competencies</a:t>
                      </a:r>
                      <a:endParaRPr lang="fr-FR" sz="800"/>
                    </a:p>
                  </a:txBody>
                  <a:tcPr marL="77434" marR="77434" marT="38717" marB="38717" anchor="ctr">
                    <a:solidFill>
                      <a:srgbClr val="27509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/>
                        <a:t>Workload</a:t>
                      </a:r>
                    </a:p>
                  </a:txBody>
                  <a:tcPr marL="77434" marR="77434" marT="38717" marB="38717" anchor="ctr">
                    <a:solidFill>
                      <a:srgbClr val="27509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/>
                        <a:t>Maturity</a:t>
                      </a:r>
                    </a:p>
                    <a:p>
                      <a:pPr algn="ctr"/>
                      <a:r>
                        <a:rPr lang="en-US" sz="800" noProof="0"/>
                        <a:t>1 </a:t>
                      </a:r>
                      <a:r>
                        <a:rPr lang="en-US" sz="800" noProof="0">
                          <a:sym typeface="Wingdings" panose="05000000000000000000" pitchFamily="2" charset="2"/>
                        </a:rPr>
                        <a:t> 5</a:t>
                      </a:r>
                      <a:endParaRPr lang="en-US" sz="800" noProof="0"/>
                    </a:p>
                  </a:txBody>
                  <a:tcPr marL="77434" marR="77434" marT="38717" marB="38717" anchor="ctr">
                    <a:solidFill>
                      <a:srgbClr val="27509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/>
                        <a:t>Assumptions</a:t>
                      </a:r>
                    </a:p>
                  </a:txBody>
                  <a:tcPr marL="77434" marR="77434" marT="38717" marB="38717" anchor="ctr">
                    <a:solidFill>
                      <a:srgbClr val="2750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9483531"/>
                  </a:ext>
                </a:extLst>
              </a:tr>
              <a:tr h="213108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FR" sz="700" b="1" i="0" u="none" strike="noStrike" noProof="0">
                          <a:latin typeface="Calibri"/>
                        </a:rPr>
                        <a:t>Kafka confluent cloud migration</a:t>
                      </a:r>
                      <a:endParaRPr lang="en-US" sz="700" b="0" i="0" u="none" strike="noStrike" noProof="0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err="1"/>
                        <a:t>Implementation</a:t>
                      </a:r>
                      <a:endParaRPr lang="fr-FR" sz="700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/>
                        <a:t>DevOps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kern="1200" noProof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96545565"/>
                  </a:ext>
                </a:extLst>
              </a:tr>
              <a:tr h="226427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FR" sz="700" b="1" i="0" u="none" strike="noStrike" noProof="0">
                          <a:latin typeface="Calibri"/>
                        </a:rPr>
                        <a:t>MongoDB Atlas migration</a:t>
                      </a:r>
                      <a:endParaRPr lang="fr-FR" sz="8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700" b="0" i="0" u="none" strike="noStrike" noProof="0" err="1">
                          <a:latin typeface="Calibri"/>
                        </a:rPr>
                        <a:t>Implementation</a:t>
                      </a:r>
                      <a:endParaRPr lang="fr-FR" err="1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700" b="0" i="0" u="none" strike="noStrike" noProof="0">
                          <a:latin typeface="Calibri"/>
                        </a:rPr>
                        <a:t>DevOps</a:t>
                      </a:r>
                      <a:endParaRPr lang="fr-FR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4</a:t>
                      </a: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kern="1200" noProof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24694993"/>
                  </a:ext>
                </a:extLst>
              </a:tr>
              <a:tr h="199788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700" b="1" i="0" u="none" strike="noStrike" noProof="0">
                          <a:latin typeface="Calibri"/>
                        </a:rPr>
                        <a:t>Feature team organization migration</a:t>
                      </a:r>
                      <a:endParaRPr lang="fr-FR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err="1"/>
                        <a:t>Study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/>
                        <a:t>Architect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X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kern="1200" noProof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88254976"/>
                  </a:ext>
                </a:extLst>
              </a:tr>
              <a:tr h="199788"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700" b="1" i="0" u="none" strike="noStrike" noProof="0" err="1">
                          <a:latin typeface="Calibri"/>
                        </a:rPr>
                        <a:t>Datascientist</a:t>
                      </a:r>
                      <a:r>
                        <a:rPr lang="en-US" sz="700" b="1" i="0" u="none" strike="noStrike" noProof="0">
                          <a:latin typeface="Calibri"/>
                        </a:rPr>
                        <a:t> journey enhancement</a:t>
                      </a:r>
                      <a:endParaRPr lang="fr-FR" sz="700" b="0" i="0" u="none" strike="noStrike" noProof="0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err="1"/>
                        <a:t>Study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/>
                        <a:t>Architect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kern="1200" noProof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89511881"/>
                  </a:ext>
                </a:extLst>
              </a:tr>
              <a:tr h="193129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FR" sz="700" b="1" i="0" u="none" strike="noStrike" noProof="0">
                          <a:latin typeface="Calibri"/>
                        </a:rPr>
                        <a:t>VMWare </a:t>
                      </a:r>
                      <a:r>
                        <a:rPr lang="fr-FR" sz="700" b="1" i="0" u="none" strike="noStrike" noProof="0" err="1">
                          <a:latin typeface="Calibri"/>
                        </a:rPr>
                        <a:t>Tanzu</a:t>
                      </a:r>
                      <a:r>
                        <a:rPr lang="fr-FR" sz="700" b="1" i="0" u="none" strike="noStrike" noProof="0">
                          <a:latin typeface="Calibri"/>
                        </a:rPr>
                        <a:t> migration</a:t>
                      </a:r>
                      <a:endParaRPr lang="fr-FR" sz="7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marL="0" marR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fr-FR" sz="700" b="0" i="0" u="none" strike="noStrike" noProof="0" err="1">
                          <a:latin typeface="Calibri"/>
                        </a:rPr>
                        <a:t>Implementation</a:t>
                      </a:r>
                      <a:endParaRPr lang="fr-FR" err="1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700" b="0" i="0" u="none" strike="noStrike" noProof="0">
                          <a:latin typeface="Calibri"/>
                        </a:rPr>
                        <a:t>DevOps</a:t>
                      </a:r>
                      <a:endParaRPr lang="fr-FR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kern="1200" noProof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49415155"/>
                  </a:ext>
                </a:extLst>
              </a:tr>
              <a:tr h="199788"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700" b="1" i="0" u="none" strike="noStrike" noProof="0" dirty="0">
                          <a:latin typeface="Calibri"/>
                        </a:rPr>
                        <a:t>Multi-zones study to meet SLR</a:t>
                      </a:r>
                      <a:endParaRPr lang="fr-FR" sz="700" b="0" i="0" u="none" strike="noStrike" noProof="0" dirty="0"/>
                    </a:p>
                  </a:txBody>
                  <a:tcPr marL="77433" marR="77433" marT="38717" marB="38717" anchor="ctr"/>
                </a:tc>
                <a:tc>
                  <a:txBody>
                    <a:bodyPr/>
                    <a:lstStyle/>
                    <a:p>
                      <a:pPr marL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fr-FR" sz="700" b="0" i="0" u="none" strike="noStrike" noProof="0" err="1">
                          <a:latin typeface="Calibri"/>
                        </a:rPr>
                        <a:t>Study</a:t>
                      </a:r>
                      <a:endParaRPr lang="fr-FR" err="1"/>
                    </a:p>
                  </a:txBody>
                  <a:tcPr marL="77433" marR="77433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700" b="0" i="0" u="none" strike="noStrike" noProof="0">
                          <a:latin typeface="Calibri"/>
                        </a:rPr>
                        <a:t>Architect</a:t>
                      </a:r>
                      <a:endParaRPr lang="fr-FR"/>
                    </a:p>
                  </a:txBody>
                  <a:tcPr marL="77433" marR="77433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M</a:t>
                      </a: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marL="0" lvl="0" indent="0" algn="ctr" defTabSz="4572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lang="en-US" sz="700" kern="1200" noProof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4" marR="9524" marT="9524" marB="0" anchor="ctr"/>
                </a:tc>
                <a:extLst>
                  <a:ext uri="{0D108BD9-81ED-4DB2-BD59-A6C34878D82A}">
                    <a16:rowId xmlns:a16="http://schemas.microsoft.com/office/drawing/2014/main" val="870244333"/>
                  </a:ext>
                </a:extLst>
              </a:tr>
              <a:tr h="206448"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700" b="1" i="0" u="none" strike="noStrike" noProof="0" dirty="0">
                          <a:latin typeface="Calibri"/>
                        </a:rPr>
                        <a:t>DRP strategy on critical use cases</a:t>
                      </a:r>
                      <a:endParaRPr lang="fr-FR" sz="700" b="0" i="0" u="none" strike="noStrike" noProof="0" dirty="0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err="1"/>
                        <a:t>Study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/>
                        <a:t>Architect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kern="1200" noProof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70510284"/>
                  </a:ext>
                </a:extLst>
              </a:tr>
              <a:tr h="179810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700" b="1" i="0" u="none" strike="noStrike" noProof="0">
                          <a:latin typeface="Calibri"/>
                        </a:rPr>
                        <a:t>IoT platform integration</a:t>
                      </a:r>
                      <a:endParaRPr lang="fr-FR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700" b="0" i="0" u="none" strike="noStrike" noProof="0" err="1">
                          <a:latin typeface="Calibri"/>
                        </a:rPr>
                        <a:t>Implementation</a:t>
                      </a:r>
                      <a:endParaRPr lang="fr-FR" err="1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700" b="0" i="0" u="none" strike="noStrike" noProof="0">
                          <a:latin typeface="Calibri"/>
                        </a:rPr>
                        <a:t>DevOps</a:t>
                      </a:r>
                      <a:endParaRPr lang="fr-FR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3</a:t>
                      </a: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kern="1200" noProof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94336681"/>
                  </a:ext>
                </a:extLst>
              </a:tr>
              <a:tr h="206448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700" b="1" i="0" u="none" strike="noStrike" noProof="0">
                          <a:latin typeface="Calibri"/>
                        </a:rPr>
                        <a:t>Rework monitoring stack</a:t>
                      </a:r>
                      <a:endParaRPr lang="fr-FR" sz="7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700" b="0" i="0" u="none" strike="noStrike" noProof="0" err="1">
                          <a:latin typeface="Calibri"/>
                        </a:rPr>
                        <a:t>Implementation</a:t>
                      </a:r>
                      <a:endParaRPr lang="fr-FR" err="1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700" b="0" i="0" u="none" strike="noStrike" noProof="0">
                          <a:latin typeface="Calibri"/>
                        </a:rPr>
                        <a:t>DevOps</a:t>
                      </a:r>
                      <a:endParaRPr lang="fr-FR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kern="1200" noProof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73131620"/>
                  </a:ext>
                </a:extLst>
              </a:tr>
              <a:tr h="206448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700" b="1" i="0" u="none" strike="noStrike" noProof="0">
                          <a:latin typeface="Calibri"/>
                        </a:rPr>
                        <a:t>Dev portal with APIM integration</a:t>
                      </a:r>
                      <a:endParaRPr lang="fr-FR" sz="7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700" b="0" i="0" u="none" strike="noStrike" noProof="0" err="1">
                          <a:latin typeface="Calibri"/>
                        </a:rPr>
                        <a:t>Implementation</a:t>
                      </a:r>
                      <a:endParaRPr lang="fr-FR" err="1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/>
                        <a:t>Dev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kern="1200" noProof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32140289"/>
                  </a:ext>
                </a:extLst>
              </a:tr>
              <a:tr h="206448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FR" sz="700" b="1" i="0" u="none" strike="noStrike" noProof="0" err="1">
                          <a:latin typeface="Calibri"/>
                        </a:rPr>
                        <a:t>Quickstart</a:t>
                      </a:r>
                      <a:r>
                        <a:rPr lang="fr-FR" sz="700" b="1" i="0" u="none" strike="noStrike" noProof="0">
                          <a:latin typeface="Calibri"/>
                        </a:rPr>
                        <a:t> for team </a:t>
                      </a:r>
                      <a:r>
                        <a:rPr lang="fr-FR" sz="700" b="1" i="0" u="none" strike="noStrike" noProof="0" err="1">
                          <a:latin typeface="Calibri"/>
                        </a:rPr>
                        <a:t>integration</a:t>
                      </a:r>
                      <a:endParaRPr lang="fr-FR" sz="7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700" b="0" i="0" u="none" strike="noStrike" noProof="0" err="1">
                          <a:latin typeface="Calibri"/>
                        </a:rPr>
                        <a:t>Implementation</a:t>
                      </a:r>
                      <a:endParaRPr lang="fr-FR" err="1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700" b="0" i="0" u="none" strike="noStrike" noProof="0">
                          <a:latin typeface="Calibri"/>
                        </a:rPr>
                        <a:t>DevOps</a:t>
                      </a:r>
                      <a:endParaRPr lang="fr-FR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kern="1200" noProof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82595845"/>
                  </a:ext>
                </a:extLst>
              </a:tr>
              <a:tr h="199788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700" b="1" i="0" u="none" strike="noStrike" noProof="0">
                          <a:latin typeface="Calibri"/>
                        </a:rPr>
                        <a:t>Recommended development stack study</a:t>
                      </a:r>
                      <a:endParaRPr lang="fr-FR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err="1"/>
                        <a:t>Study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/>
                        <a:t>Dev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5</a:t>
                      </a:r>
                      <a:endParaRPr lang="fr-FR" sz="10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kern="1200" noProof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45023379"/>
                  </a:ext>
                </a:extLst>
              </a:tr>
              <a:tr h="219768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FR" sz="700" b="1" i="0" u="none" strike="noStrike" noProof="0" err="1">
                          <a:latin typeface="Calibri"/>
                        </a:rPr>
                        <a:t>Internal</a:t>
                      </a:r>
                      <a:r>
                        <a:rPr lang="fr-FR" sz="700" b="1" i="0" u="none" strike="noStrike" noProof="0">
                          <a:latin typeface="Calibri"/>
                        </a:rPr>
                        <a:t> API Manager</a:t>
                      </a:r>
                      <a:endParaRPr lang="fr-FR" sz="8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700" b="0" i="0" u="none" strike="noStrike" noProof="0" err="1">
                          <a:latin typeface="Calibri"/>
                        </a:rPr>
                        <a:t>Implementation</a:t>
                      </a:r>
                      <a:endParaRPr lang="fr-FR" err="1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700" b="0" i="0" u="none" strike="noStrike" noProof="0">
                          <a:latin typeface="Calibri"/>
                        </a:rPr>
                        <a:t>DevOps</a:t>
                      </a:r>
                      <a:endParaRPr lang="fr-FR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700" kern="1200" noProof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70357591"/>
                  </a:ext>
                </a:extLst>
              </a:tr>
              <a:tr h="206448">
                <a:tc>
                  <a:txBody>
                    <a:bodyPr/>
                    <a:lstStyle/>
                    <a:p>
                      <a:pPr lvl="0">
                        <a:lnSpc>
                          <a:spcPct val="107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fr-FR" sz="700" b="1" i="0" u="none" strike="noStrike" noProof="0">
                          <a:effectLst/>
                          <a:latin typeface="Calibri"/>
                        </a:rPr>
                        <a:t>Client-</a:t>
                      </a:r>
                      <a:r>
                        <a:rPr lang="fr-FR" sz="700" b="1" i="0" u="none" strike="noStrike" noProof="0" err="1">
                          <a:effectLst/>
                          <a:latin typeface="Calibri"/>
                        </a:rPr>
                        <a:t>facing</a:t>
                      </a:r>
                      <a:r>
                        <a:rPr lang="fr-FR" sz="700" b="1" i="0" u="none" strike="noStrike" noProof="0">
                          <a:effectLst/>
                          <a:latin typeface="Calibri"/>
                        </a:rPr>
                        <a:t> API Manager : use &amp; </a:t>
                      </a:r>
                      <a:r>
                        <a:rPr lang="fr-FR" sz="700" b="1" i="0" u="none" strike="noStrike" noProof="0" err="1">
                          <a:effectLst/>
                          <a:latin typeface="Calibri"/>
                        </a:rPr>
                        <a:t>rules</a:t>
                      </a:r>
                      <a:endParaRPr lang="fr-FR" sz="700" b="1">
                        <a:solidFill>
                          <a:srgbClr val="404040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77433" marR="77433" marT="38717" marB="38717" anchor="ctr"/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FR" sz="700" b="0" i="0" u="none" strike="noStrike" noProof="0" err="1">
                          <a:latin typeface="Calibri"/>
                        </a:rPr>
                        <a:t>Implementation</a:t>
                      </a:r>
                      <a:endParaRPr lang="fr-FR" err="1"/>
                    </a:p>
                  </a:txBody>
                  <a:tcPr marL="77433" marR="77433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700" b="0" i="0" u="none" strike="noStrike" noProof="0">
                          <a:latin typeface="Calibri"/>
                        </a:rPr>
                        <a:t>DevOps</a:t>
                      </a:r>
                      <a:endParaRPr lang="fr-FR"/>
                    </a:p>
                  </a:txBody>
                  <a:tcPr marL="77433" marR="77433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M</a:t>
                      </a: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700" kern="1200" noProof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4" marR="9524" marT="9524" marB="0" anchor="ctr"/>
                </a:tc>
                <a:extLst>
                  <a:ext uri="{0D108BD9-81ED-4DB2-BD59-A6C34878D82A}">
                    <a16:rowId xmlns:a16="http://schemas.microsoft.com/office/drawing/2014/main" val="3828319167"/>
                  </a:ext>
                </a:extLst>
              </a:tr>
              <a:tr h="213108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700" b="1" i="0" u="none" strike="noStrike" noProof="0" dirty="0">
                          <a:latin typeface="Calibri"/>
                        </a:rPr>
                        <a:t>Cold data sharing capabilities</a:t>
                      </a:r>
                      <a:endParaRPr lang="fr-FR" sz="7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700" err="1"/>
                        <a:t>Study</a:t>
                      </a:r>
                      <a:endParaRPr lang="fr-FR" err="1"/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700"/>
                        <a:t>Architect</a:t>
                      </a:r>
                    </a:p>
                  </a:txBody>
                  <a:tcPr marL="77434" marR="77434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7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22693963"/>
                  </a:ext>
                </a:extLst>
              </a:tr>
              <a:tr h="199788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700" b="1" i="0" u="none" strike="noStrike" noProof="0" dirty="0">
                          <a:latin typeface="Calibri"/>
                        </a:rPr>
                        <a:t>API Monetization</a:t>
                      </a:r>
                      <a:endParaRPr lang="fr-FR" dirty="0"/>
                    </a:p>
                  </a:txBody>
                  <a:tcPr marL="77432" marR="77432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700" err="1"/>
                        <a:t>Study</a:t>
                      </a:r>
                    </a:p>
                  </a:txBody>
                  <a:tcPr marL="77432" marR="77432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700" b="0" i="0" u="none" strike="noStrike" noProof="0">
                          <a:latin typeface="Calibri"/>
                        </a:rPr>
                        <a:t>Architect</a:t>
                      </a:r>
                      <a:endParaRPr lang="fr-FR"/>
                    </a:p>
                  </a:txBody>
                  <a:tcPr marL="77432" marR="77432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L</a:t>
                      </a: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7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4" marR="9524" marT="9524" marB="0" anchor="ctr"/>
                </a:tc>
                <a:extLst>
                  <a:ext uri="{0D108BD9-81ED-4DB2-BD59-A6C34878D82A}">
                    <a16:rowId xmlns:a16="http://schemas.microsoft.com/office/drawing/2014/main" val="2495732801"/>
                  </a:ext>
                </a:extLst>
              </a:tr>
              <a:tr h="199788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700" b="1" i="0" u="none" strike="noStrike" noProof="0">
                          <a:latin typeface="Calibri"/>
                        </a:rPr>
                        <a:t>MYSQL database decommissioning</a:t>
                      </a:r>
                      <a:endParaRPr lang="fr-FR"/>
                    </a:p>
                  </a:txBody>
                  <a:tcPr marL="77432" marR="77432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700" b="0" i="0" u="none" strike="noStrike" noProof="0" err="1">
                          <a:latin typeface="Calibri"/>
                        </a:rPr>
                        <a:t>Implementation</a:t>
                      </a:r>
                      <a:endParaRPr lang="fr-FR" err="1"/>
                    </a:p>
                  </a:txBody>
                  <a:tcPr marL="77432" marR="77432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700" b="0" i="0" u="none" strike="noStrike" noProof="0">
                          <a:latin typeface="Calibri"/>
                        </a:rPr>
                        <a:t>DevOps</a:t>
                      </a:r>
                      <a:endParaRPr lang="fr-FR"/>
                    </a:p>
                  </a:txBody>
                  <a:tcPr marL="77432" marR="77432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S</a:t>
                      </a: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700" kern="1200" noProof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4" marR="9524" marT="9524" marB="0" anchor="ctr"/>
                </a:tc>
                <a:extLst>
                  <a:ext uri="{0D108BD9-81ED-4DB2-BD59-A6C34878D82A}">
                    <a16:rowId xmlns:a16="http://schemas.microsoft.com/office/drawing/2014/main" val="397770009"/>
                  </a:ext>
                </a:extLst>
              </a:tr>
              <a:tr h="199788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700" b="1" i="0" u="none" strike="noStrike" noProof="0">
                          <a:latin typeface="Calibri"/>
                        </a:rPr>
                        <a:t>Legacy authentication mechanism decom</a:t>
                      </a:r>
                      <a:endParaRPr lang="fr-FR"/>
                    </a:p>
                  </a:txBody>
                  <a:tcPr marL="77432" marR="77432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700" b="0" i="0" u="none" strike="noStrike" noProof="0" err="1">
                          <a:latin typeface="Calibri"/>
                        </a:rPr>
                        <a:t>Implementation</a:t>
                      </a:r>
                      <a:endParaRPr lang="fr-FR" err="1"/>
                    </a:p>
                  </a:txBody>
                  <a:tcPr marL="77432" marR="77432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700" b="0" i="0" u="none" strike="noStrike" noProof="0">
                          <a:latin typeface="Calibri"/>
                        </a:rPr>
                        <a:t>DevOps</a:t>
                      </a:r>
                      <a:endParaRPr lang="fr-FR"/>
                    </a:p>
                  </a:txBody>
                  <a:tcPr marL="77432" marR="77432" marT="38717" marB="38717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S</a:t>
                      </a: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10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7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4" marR="9524" marT="9524" marB="0" anchor="ctr"/>
                </a:tc>
                <a:extLst>
                  <a:ext uri="{0D108BD9-81ED-4DB2-BD59-A6C34878D82A}">
                    <a16:rowId xmlns:a16="http://schemas.microsoft.com/office/drawing/2014/main" val="10231077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87225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Losange 3"/>
          <p:cNvSpPr/>
          <p:nvPr/>
        </p:nvSpPr>
        <p:spPr bwMode="auto">
          <a:xfrm>
            <a:off x="422903" y="4044429"/>
            <a:ext cx="8185151" cy="810090"/>
          </a:xfrm>
          <a:custGeom>
            <a:avLst/>
            <a:gdLst/>
            <a:ahLst/>
            <a:cxnLst/>
            <a:rect l="l" t="t" r="r" b="b"/>
            <a:pathLst>
              <a:path w="8640960" h="1080120">
                <a:moveTo>
                  <a:pt x="0" y="0"/>
                </a:moveTo>
                <a:lnTo>
                  <a:pt x="8064896" y="0"/>
                </a:lnTo>
                <a:lnTo>
                  <a:pt x="8640960" y="540060"/>
                </a:lnTo>
                <a:lnTo>
                  <a:pt x="8064896" y="1080120"/>
                </a:lnTo>
                <a:lnTo>
                  <a:pt x="0" y="1080120"/>
                </a:lnTo>
                <a:lnTo>
                  <a:pt x="556200" y="540060"/>
                </a:lnTo>
                <a:close/>
              </a:path>
            </a:pathLst>
          </a:custGeom>
          <a:solidFill>
            <a:schemeClr val="tx2"/>
          </a:solidFill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latin typeface="Times" pitchFamily="-104" charset="0"/>
            </a:endParaRPr>
          </a:p>
        </p:txBody>
      </p:sp>
      <p:sp>
        <p:nvSpPr>
          <p:cNvPr id="44" name="Rectangle 43"/>
          <p:cNvSpPr/>
          <p:nvPr/>
        </p:nvSpPr>
        <p:spPr bwMode="auto">
          <a:xfrm>
            <a:off x="1658322" y="4098474"/>
            <a:ext cx="515700" cy="70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500" b="1" err="1">
                <a:solidFill>
                  <a:schemeClr val="bg2"/>
                </a:solidFill>
                <a:latin typeface="Arial"/>
                <a:cs typeface="Arial"/>
              </a:rPr>
              <a:t>Fev</a:t>
            </a:r>
            <a:endParaRPr lang="fr-FR" sz="1500" b="1">
              <a:solidFill>
                <a:schemeClr val="bg2"/>
              </a:solidFill>
              <a:latin typeface="Arial"/>
              <a:cs typeface="Arial"/>
            </a:endParaRPr>
          </a:p>
          <a:p>
            <a:pPr algn="ctr" defTabSz="685800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chemeClr val="bg2"/>
                </a:solidFill>
                <a:latin typeface="Arial"/>
                <a:cs typeface="Arial"/>
              </a:rPr>
              <a:t>2022</a:t>
            </a:r>
            <a:endParaRPr lang="fr-FR"/>
          </a:p>
        </p:txBody>
      </p:sp>
      <p:sp>
        <p:nvSpPr>
          <p:cNvPr id="46" name="Rectangle 45"/>
          <p:cNvSpPr/>
          <p:nvPr/>
        </p:nvSpPr>
        <p:spPr bwMode="auto">
          <a:xfrm>
            <a:off x="3304941" y="4098474"/>
            <a:ext cx="515700" cy="70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500" b="1">
                <a:solidFill>
                  <a:schemeClr val="bg2"/>
                </a:solidFill>
                <a:latin typeface="Arial"/>
                <a:cs typeface="Arial"/>
              </a:rPr>
              <a:t>Mai</a:t>
            </a:r>
          </a:p>
          <a:p>
            <a:pPr algn="ctr" defTabSz="685800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chemeClr val="bg2"/>
                </a:solidFill>
                <a:latin typeface="Arial"/>
                <a:cs typeface="Arial"/>
              </a:rPr>
              <a:t>2022</a:t>
            </a:r>
            <a:endParaRPr lang="fr-FR"/>
          </a:p>
        </p:txBody>
      </p:sp>
      <p:sp>
        <p:nvSpPr>
          <p:cNvPr id="48" name="Rectangle 47"/>
          <p:cNvSpPr/>
          <p:nvPr/>
        </p:nvSpPr>
        <p:spPr bwMode="auto">
          <a:xfrm>
            <a:off x="4402688" y="4098474"/>
            <a:ext cx="515700" cy="70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500" b="1" err="1">
                <a:solidFill>
                  <a:schemeClr val="bg2"/>
                </a:solidFill>
                <a:latin typeface="Arial"/>
                <a:cs typeface="Arial"/>
              </a:rPr>
              <a:t>Jui</a:t>
            </a:r>
            <a:endParaRPr lang="fr-FR" sz="1500" b="1">
              <a:solidFill>
                <a:schemeClr val="bg2"/>
              </a:solidFill>
              <a:latin typeface="Arial"/>
              <a:cs typeface="Arial"/>
            </a:endParaRPr>
          </a:p>
          <a:p>
            <a:pPr algn="ctr" defTabSz="685800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chemeClr val="bg2"/>
                </a:solidFill>
                <a:latin typeface="Arial"/>
                <a:cs typeface="Arial"/>
              </a:rPr>
              <a:t>2022</a:t>
            </a:r>
            <a:endParaRPr lang="fr-FR"/>
          </a:p>
        </p:txBody>
      </p:sp>
      <p:sp>
        <p:nvSpPr>
          <p:cNvPr id="50" name="Rectangle 49"/>
          <p:cNvSpPr/>
          <p:nvPr/>
        </p:nvSpPr>
        <p:spPr bwMode="auto">
          <a:xfrm>
            <a:off x="5500434" y="4098474"/>
            <a:ext cx="515700" cy="70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350" b="1">
                <a:solidFill>
                  <a:schemeClr val="bg2"/>
                </a:solidFill>
                <a:latin typeface="Arial"/>
                <a:cs typeface="Arial"/>
              </a:rPr>
              <a:t>Sep</a:t>
            </a:r>
          </a:p>
          <a:p>
            <a:pPr algn="ctr" defTabSz="685800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chemeClr val="bg2"/>
                </a:solidFill>
                <a:latin typeface="Arial"/>
                <a:cs typeface="Arial"/>
              </a:rPr>
              <a:t>2022</a:t>
            </a:r>
            <a:endParaRPr lang="fr-FR"/>
          </a:p>
        </p:txBody>
      </p:sp>
      <p:sp>
        <p:nvSpPr>
          <p:cNvPr id="52" name="Rectangle 51"/>
          <p:cNvSpPr/>
          <p:nvPr/>
        </p:nvSpPr>
        <p:spPr bwMode="auto">
          <a:xfrm>
            <a:off x="4951560" y="3745959"/>
            <a:ext cx="1613447" cy="225485"/>
          </a:xfrm>
          <a:prstGeom prst="rect">
            <a:avLst/>
          </a:prstGeom>
          <a:solidFill>
            <a:srgbClr val="00B87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800" b="1" err="1">
                <a:solidFill>
                  <a:schemeClr val="bg1"/>
                </a:solidFill>
              </a:rPr>
              <a:t>xxxxx</a:t>
            </a:r>
            <a:endParaRPr lang="fr-FR" err="1"/>
          </a:p>
        </p:txBody>
      </p:sp>
      <p:sp>
        <p:nvSpPr>
          <p:cNvPr id="56" name="Rectangle 55"/>
          <p:cNvSpPr/>
          <p:nvPr/>
        </p:nvSpPr>
        <p:spPr bwMode="auto">
          <a:xfrm>
            <a:off x="6142190" y="1053172"/>
            <a:ext cx="1613447" cy="234593"/>
          </a:xfrm>
          <a:prstGeom prst="rect">
            <a:avLst/>
          </a:prstGeom>
          <a:solidFill>
            <a:srgbClr val="CCCC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650" b="1" err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xxxx</a:t>
            </a:r>
            <a:endParaRPr lang="fr-FR" err="1"/>
          </a:p>
        </p:txBody>
      </p:sp>
      <p:sp>
        <p:nvSpPr>
          <p:cNvPr id="62" name="Rectangle 61"/>
          <p:cNvSpPr/>
          <p:nvPr/>
        </p:nvSpPr>
        <p:spPr bwMode="auto">
          <a:xfrm>
            <a:off x="2207195" y="4098474"/>
            <a:ext cx="515700" cy="70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500" b="1">
                <a:solidFill>
                  <a:schemeClr val="bg2"/>
                </a:solidFill>
                <a:latin typeface="Arial"/>
                <a:cs typeface="Arial"/>
              </a:rPr>
              <a:t>Mar</a:t>
            </a:r>
            <a:endParaRPr lang="fr-FR" sz="1200" b="1">
              <a:solidFill>
                <a:schemeClr val="bg2"/>
              </a:solidFill>
              <a:latin typeface="Arial"/>
              <a:cs typeface="Arial"/>
            </a:endParaRPr>
          </a:p>
          <a:p>
            <a:pPr algn="ctr" defTabSz="685800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chemeClr val="bg2"/>
                </a:solidFill>
                <a:latin typeface="Arial"/>
                <a:cs typeface="Arial"/>
              </a:rPr>
              <a:t>2022</a:t>
            </a:r>
            <a:endParaRPr lang="fr-FR"/>
          </a:p>
        </p:txBody>
      </p:sp>
      <p:sp>
        <p:nvSpPr>
          <p:cNvPr id="89" name="Rectangle 88"/>
          <p:cNvSpPr/>
          <p:nvPr/>
        </p:nvSpPr>
        <p:spPr bwMode="auto">
          <a:xfrm>
            <a:off x="1109448" y="4098474"/>
            <a:ext cx="515700" cy="70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500" b="1">
                <a:solidFill>
                  <a:schemeClr val="bg2"/>
                </a:solidFill>
                <a:latin typeface="Arial"/>
                <a:cs typeface="Arial"/>
              </a:rPr>
              <a:t>Jan</a:t>
            </a:r>
          </a:p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chemeClr val="bg2"/>
                </a:solidFill>
                <a:latin typeface="Arial"/>
                <a:cs typeface="Arial"/>
              </a:rPr>
              <a:t>2022</a:t>
            </a:r>
          </a:p>
        </p:txBody>
      </p:sp>
      <p:sp>
        <p:nvSpPr>
          <p:cNvPr id="57" name="Rectangle 56"/>
          <p:cNvSpPr/>
          <p:nvPr/>
        </p:nvSpPr>
        <p:spPr bwMode="auto">
          <a:xfrm>
            <a:off x="2756068" y="4098474"/>
            <a:ext cx="515700" cy="70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500" b="1" err="1">
                <a:solidFill>
                  <a:schemeClr val="bg2"/>
                </a:solidFill>
                <a:latin typeface="Arial"/>
                <a:cs typeface="Arial"/>
              </a:rPr>
              <a:t>Avr</a:t>
            </a:r>
            <a:endParaRPr lang="fr-FR" b="1">
              <a:solidFill>
                <a:schemeClr val="bg2"/>
              </a:solidFill>
              <a:latin typeface="Arial"/>
              <a:cs typeface="Arial"/>
            </a:endParaRPr>
          </a:p>
          <a:p>
            <a:pPr algn="ctr" defTabSz="685800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chemeClr val="bg2"/>
                </a:solidFill>
                <a:latin typeface="Arial"/>
                <a:cs typeface="Arial"/>
              </a:rPr>
              <a:t>2022</a:t>
            </a:r>
            <a:endParaRPr lang="fr-FR"/>
          </a:p>
        </p:txBody>
      </p:sp>
      <p:sp>
        <p:nvSpPr>
          <p:cNvPr id="66" name="Rectangle 65"/>
          <p:cNvSpPr/>
          <p:nvPr/>
        </p:nvSpPr>
        <p:spPr bwMode="auto">
          <a:xfrm>
            <a:off x="3853815" y="4098474"/>
            <a:ext cx="515700" cy="70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350" b="1">
                <a:solidFill>
                  <a:schemeClr val="bg2"/>
                </a:solidFill>
                <a:latin typeface="Arial"/>
                <a:cs typeface="Arial"/>
              </a:rPr>
              <a:t>Jun</a:t>
            </a:r>
          </a:p>
          <a:p>
            <a:pPr algn="ctr" defTabSz="685800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chemeClr val="bg2"/>
                </a:solidFill>
                <a:latin typeface="Arial"/>
                <a:cs typeface="Arial"/>
              </a:rPr>
              <a:t>2022</a:t>
            </a:r>
            <a:endParaRPr lang="fr-FR"/>
          </a:p>
        </p:txBody>
      </p:sp>
      <p:sp>
        <p:nvSpPr>
          <p:cNvPr id="90" name="Rectangle 89"/>
          <p:cNvSpPr/>
          <p:nvPr/>
        </p:nvSpPr>
        <p:spPr bwMode="auto">
          <a:xfrm>
            <a:off x="4951561" y="4098474"/>
            <a:ext cx="515700" cy="70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500" b="1" err="1">
                <a:solidFill>
                  <a:schemeClr val="bg2"/>
                </a:solidFill>
                <a:latin typeface="Arial"/>
                <a:cs typeface="Arial"/>
              </a:rPr>
              <a:t>Aou</a:t>
            </a:r>
            <a:endParaRPr lang="fr-FR" sz="1500" b="1">
              <a:solidFill>
                <a:schemeClr val="bg2"/>
              </a:solidFill>
              <a:latin typeface="Arial"/>
              <a:cs typeface="Arial"/>
            </a:endParaRPr>
          </a:p>
          <a:p>
            <a:pPr algn="ctr" defTabSz="685800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chemeClr val="bg2"/>
                </a:solidFill>
                <a:latin typeface="Arial"/>
                <a:cs typeface="Arial"/>
              </a:rPr>
              <a:t>2022</a:t>
            </a:r>
            <a:endParaRPr lang="fr-FR"/>
          </a:p>
        </p:txBody>
      </p:sp>
      <p:sp>
        <p:nvSpPr>
          <p:cNvPr id="91" name="Rectangle 90"/>
          <p:cNvSpPr/>
          <p:nvPr/>
        </p:nvSpPr>
        <p:spPr bwMode="auto">
          <a:xfrm>
            <a:off x="6049308" y="4098474"/>
            <a:ext cx="515700" cy="70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350" b="1" err="1">
                <a:solidFill>
                  <a:schemeClr val="bg2"/>
                </a:solidFill>
                <a:latin typeface="Arial"/>
                <a:cs typeface="Arial"/>
              </a:rPr>
              <a:t>Oct</a:t>
            </a:r>
            <a:endParaRPr lang="fr-FR" sz="1350" b="1">
              <a:solidFill>
                <a:schemeClr val="bg2"/>
              </a:solidFill>
              <a:latin typeface="Arial"/>
              <a:cs typeface="Arial"/>
            </a:endParaRPr>
          </a:p>
          <a:p>
            <a:pPr algn="ctr" defTabSz="685800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chemeClr val="bg2"/>
                </a:solidFill>
                <a:latin typeface="Arial"/>
                <a:cs typeface="Arial"/>
              </a:rPr>
              <a:t>2022</a:t>
            </a:r>
            <a:endParaRPr lang="fr-FR"/>
          </a:p>
        </p:txBody>
      </p:sp>
      <p:sp>
        <p:nvSpPr>
          <p:cNvPr id="92" name="Rectangle 91"/>
          <p:cNvSpPr/>
          <p:nvPr/>
        </p:nvSpPr>
        <p:spPr bwMode="auto">
          <a:xfrm>
            <a:off x="6598181" y="4098474"/>
            <a:ext cx="515700" cy="70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350" b="1" err="1">
                <a:solidFill>
                  <a:schemeClr val="bg2"/>
                </a:solidFill>
                <a:latin typeface="Arial"/>
                <a:cs typeface="Arial"/>
              </a:rPr>
              <a:t>Nov</a:t>
            </a:r>
            <a:endParaRPr lang="fr-FR" sz="1350" b="1">
              <a:solidFill>
                <a:schemeClr val="bg2"/>
              </a:solidFill>
              <a:latin typeface="Arial"/>
              <a:cs typeface="Arial"/>
            </a:endParaRPr>
          </a:p>
          <a:p>
            <a:pPr algn="ctr" defTabSz="685800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chemeClr val="bg2"/>
                </a:solidFill>
                <a:latin typeface="Arial"/>
                <a:cs typeface="Arial"/>
              </a:rPr>
              <a:t>2022</a:t>
            </a:r>
            <a:endParaRPr lang="fr-FR"/>
          </a:p>
        </p:txBody>
      </p:sp>
      <p:sp>
        <p:nvSpPr>
          <p:cNvPr id="93" name="Rectangle 92"/>
          <p:cNvSpPr/>
          <p:nvPr/>
        </p:nvSpPr>
        <p:spPr bwMode="auto">
          <a:xfrm>
            <a:off x="7147053" y="4098474"/>
            <a:ext cx="515700" cy="70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350" b="1" err="1">
                <a:solidFill>
                  <a:schemeClr val="bg2"/>
                </a:solidFill>
                <a:latin typeface="Arial"/>
                <a:cs typeface="Arial"/>
              </a:rPr>
              <a:t>Dec</a:t>
            </a:r>
            <a:endParaRPr lang="fr-FR" sz="1350" b="1">
              <a:solidFill>
                <a:schemeClr val="bg2"/>
              </a:solidFill>
              <a:latin typeface="Arial"/>
              <a:cs typeface="Arial"/>
            </a:endParaRPr>
          </a:p>
          <a:p>
            <a:pPr algn="ctr" defTabSz="685800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chemeClr val="bg2"/>
                </a:solidFill>
                <a:latin typeface="Arial"/>
                <a:cs typeface="Arial"/>
              </a:rPr>
              <a:t>2022</a:t>
            </a:r>
            <a:endParaRPr lang="fr-FR"/>
          </a:p>
        </p:txBody>
      </p:sp>
      <p:sp>
        <p:nvSpPr>
          <p:cNvPr id="85" name="Rectangle 84"/>
          <p:cNvSpPr/>
          <p:nvPr/>
        </p:nvSpPr>
        <p:spPr bwMode="auto">
          <a:xfrm>
            <a:off x="2751233" y="2312575"/>
            <a:ext cx="3264900" cy="229573"/>
          </a:xfrm>
          <a:prstGeom prst="rect">
            <a:avLst/>
          </a:prstGeom>
          <a:solidFill>
            <a:srgbClr val="27509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r>
              <a:rPr lang="fr-FR" sz="650" b="1" err="1">
                <a:solidFill>
                  <a:schemeClr val="bg2"/>
                </a:solidFill>
                <a:latin typeface="Arial"/>
                <a:cs typeface="Arial"/>
              </a:rPr>
              <a:t>xxxx</a:t>
            </a:r>
            <a:endParaRPr lang="fr-FR" err="1"/>
          </a:p>
        </p:txBody>
      </p:sp>
      <p:cxnSp>
        <p:nvCxnSpPr>
          <p:cNvPr id="6" name="Connecteur droit 5"/>
          <p:cNvCxnSpPr>
            <a:cxnSpLocks/>
          </p:cNvCxnSpPr>
          <p:nvPr/>
        </p:nvCxnSpPr>
        <p:spPr>
          <a:xfrm>
            <a:off x="263852" y="2571750"/>
            <a:ext cx="8197396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ZoneTexte 6"/>
          <p:cNvSpPr txBox="1"/>
          <p:nvPr/>
        </p:nvSpPr>
        <p:spPr>
          <a:xfrm>
            <a:off x="8283407" y="1904660"/>
            <a:ext cx="728021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fr-FR" sz="1350">
                <a:solidFill>
                  <a:schemeClr val="bg1">
                    <a:lumMod val="50000"/>
                  </a:schemeClr>
                </a:solidFill>
              </a:rPr>
              <a:t>DevOps</a:t>
            </a:r>
          </a:p>
        </p:txBody>
      </p:sp>
      <p:sp>
        <p:nvSpPr>
          <p:cNvPr id="86" name="ZoneTexte 85"/>
          <p:cNvSpPr txBox="1"/>
          <p:nvPr/>
        </p:nvSpPr>
        <p:spPr>
          <a:xfrm>
            <a:off x="8420047" y="3249829"/>
            <a:ext cx="454740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350">
                <a:solidFill>
                  <a:schemeClr val="bg1">
                    <a:lumMod val="50000"/>
                  </a:schemeClr>
                </a:solidFill>
              </a:rPr>
              <a:t>Dev</a:t>
            </a:r>
          </a:p>
        </p:txBody>
      </p:sp>
      <p:sp>
        <p:nvSpPr>
          <p:cNvPr id="54" name="Text Placeholder 1">
            <a:extLst>
              <a:ext uri="{FF2B5EF4-FFF2-40B4-BE49-F238E27FC236}">
                <a16:creationId xmlns:a16="http://schemas.microsoft.com/office/drawing/2014/main" id="{3D71ABF9-4C78-423F-9B02-18F3DD3BA1D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8793" y="194908"/>
            <a:ext cx="2531879" cy="455125"/>
          </a:xfrm>
        </p:spPr>
        <p:txBody>
          <a:bodyPr/>
          <a:lstStyle/>
          <a:p>
            <a:r>
              <a:rPr lang="en-US" sz="1800">
                <a:solidFill>
                  <a:schemeClr val="tx1">
                    <a:lumMod val="75000"/>
                    <a:lumOff val="25000"/>
                  </a:schemeClr>
                </a:solidFill>
              </a:rPr>
              <a:t>Runway Roadmap Plan</a:t>
            </a: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0247B8C8-C3D9-4BA7-9986-5D57423B06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503" y="99989"/>
            <a:ext cx="1172337" cy="216797"/>
          </a:xfrm>
        </p:spPr>
        <p:txBody>
          <a:bodyPr/>
          <a:lstStyle/>
          <a:p>
            <a:r>
              <a:rPr lang="en-US">
                <a:solidFill>
                  <a:srgbClr val="00CC9B"/>
                </a:solidFill>
              </a:rPr>
              <a:t>Architecture</a:t>
            </a:r>
          </a:p>
        </p:txBody>
      </p:sp>
      <p:pic>
        <p:nvPicPr>
          <p:cNvPr id="63" name="Image 62">
            <a:extLst>
              <a:ext uri="{FF2B5EF4-FFF2-40B4-BE49-F238E27FC236}">
                <a16:creationId xmlns:a16="http://schemas.microsoft.com/office/drawing/2014/main" id="{97515632-4853-4D82-8B57-78CFBC8438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323" y="202486"/>
            <a:ext cx="354470" cy="380523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974AD59A-8F9C-4221-9D20-CA3E31201BEB}"/>
              </a:ext>
            </a:extLst>
          </p:cNvPr>
          <p:cNvSpPr/>
          <p:nvPr/>
        </p:nvSpPr>
        <p:spPr bwMode="auto">
          <a:xfrm>
            <a:off x="1142621" y="3137086"/>
            <a:ext cx="3217224" cy="225485"/>
          </a:xfrm>
          <a:prstGeom prst="rect">
            <a:avLst/>
          </a:prstGeom>
          <a:solidFill>
            <a:srgbClr val="00B87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800" b="1" err="1">
                <a:solidFill>
                  <a:schemeClr val="bg1"/>
                </a:solidFill>
                <a:cs typeface="Arial"/>
              </a:rPr>
              <a:t>xxxxx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BBAC64A7-35A7-488E-9BBF-3E33E94EBD69}"/>
              </a:ext>
            </a:extLst>
          </p:cNvPr>
          <p:cNvSpPr/>
          <p:nvPr/>
        </p:nvSpPr>
        <p:spPr bwMode="auto">
          <a:xfrm>
            <a:off x="5500434" y="2829412"/>
            <a:ext cx="1613447" cy="225485"/>
          </a:xfrm>
          <a:prstGeom prst="rect">
            <a:avLst/>
          </a:prstGeom>
          <a:solidFill>
            <a:srgbClr val="00B87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800" b="1" err="1">
                <a:solidFill>
                  <a:schemeClr val="bg1"/>
                </a:solidFill>
                <a:cs typeface="Arial"/>
              </a:rPr>
              <a:t>xxxxx</a:t>
            </a:r>
            <a:endParaRPr lang="fr-FR" err="1"/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66AD2F3B-B9F2-4E65-BC4E-E46CFD4CFD8C}"/>
              </a:ext>
            </a:extLst>
          </p:cNvPr>
          <p:cNvSpPr/>
          <p:nvPr/>
        </p:nvSpPr>
        <p:spPr bwMode="auto">
          <a:xfrm>
            <a:off x="2756068" y="1786047"/>
            <a:ext cx="1603776" cy="229573"/>
          </a:xfrm>
          <a:prstGeom prst="rect">
            <a:avLst/>
          </a:prstGeom>
          <a:solidFill>
            <a:srgbClr val="27509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r>
              <a:rPr lang="fr-FR" sz="650" b="1" err="1">
                <a:solidFill>
                  <a:schemeClr val="bg2"/>
                </a:solidFill>
                <a:latin typeface="Arial"/>
                <a:cs typeface="Arial"/>
              </a:rPr>
              <a:t>xxxxx</a:t>
            </a:r>
            <a:endParaRPr lang="fr-FR" err="1">
              <a:solidFill>
                <a:schemeClr val="bg2"/>
              </a:solidFill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72C77F91-340C-41A0-B900-7B0CA5E48599}"/>
              </a:ext>
            </a:extLst>
          </p:cNvPr>
          <p:cNvSpPr/>
          <p:nvPr/>
        </p:nvSpPr>
        <p:spPr bwMode="auto">
          <a:xfrm>
            <a:off x="5758283" y="2058548"/>
            <a:ext cx="2193519" cy="229573"/>
          </a:xfrm>
          <a:prstGeom prst="rect">
            <a:avLst/>
          </a:prstGeom>
          <a:solidFill>
            <a:srgbClr val="27509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r>
              <a:rPr lang="fr-FR" sz="650" b="1" err="1">
                <a:solidFill>
                  <a:schemeClr val="bg2"/>
                </a:solidFill>
                <a:latin typeface="Arial"/>
                <a:cs typeface="Arial"/>
              </a:rPr>
              <a:t>xxxxx</a:t>
            </a:r>
            <a:endParaRPr lang="fr-FR" err="1"/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B3BC93A6-8B20-4ED1-8F4F-6DDC9E714BB0}"/>
              </a:ext>
            </a:extLst>
          </p:cNvPr>
          <p:cNvSpPr/>
          <p:nvPr/>
        </p:nvSpPr>
        <p:spPr bwMode="auto">
          <a:xfrm>
            <a:off x="2207194" y="2837567"/>
            <a:ext cx="1613447" cy="225485"/>
          </a:xfrm>
          <a:prstGeom prst="rect">
            <a:avLst/>
          </a:prstGeom>
          <a:solidFill>
            <a:srgbClr val="00B87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800" b="1" err="1">
                <a:solidFill>
                  <a:schemeClr val="bg1"/>
                </a:solidFill>
                <a:cs typeface="Arial"/>
              </a:rPr>
              <a:t>xxxxxx</a:t>
            </a:r>
            <a:endParaRPr lang="fr-FR" sz="800" b="1" err="1">
              <a:solidFill>
                <a:schemeClr val="bg1"/>
              </a:solidFill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85ADF258-CAC9-4620-9EC4-1F0975E4B2B7}"/>
              </a:ext>
            </a:extLst>
          </p:cNvPr>
          <p:cNvSpPr/>
          <p:nvPr/>
        </p:nvSpPr>
        <p:spPr bwMode="auto">
          <a:xfrm>
            <a:off x="6049308" y="3420655"/>
            <a:ext cx="1613447" cy="225485"/>
          </a:xfrm>
          <a:prstGeom prst="rect">
            <a:avLst/>
          </a:prstGeom>
          <a:solidFill>
            <a:srgbClr val="00B87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800" b="1" err="1">
                <a:solidFill>
                  <a:schemeClr val="bg1"/>
                </a:solidFill>
                <a:cs typeface="Arial"/>
              </a:rPr>
              <a:t>xxxxx</a:t>
            </a:r>
            <a:endParaRPr lang="fr-FR" err="1"/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1F158718-9E34-461C-B5F3-47208A9B0FAA}"/>
              </a:ext>
            </a:extLst>
          </p:cNvPr>
          <p:cNvSpPr/>
          <p:nvPr/>
        </p:nvSpPr>
        <p:spPr bwMode="auto">
          <a:xfrm>
            <a:off x="5501421" y="1488994"/>
            <a:ext cx="2193519" cy="229573"/>
          </a:xfrm>
          <a:prstGeom prst="rect">
            <a:avLst/>
          </a:prstGeom>
          <a:solidFill>
            <a:srgbClr val="27509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r>
              <a:rPr lang="fr-FR" sz="650" b="1" err="1">
                <a:solidFill>
                  <a:schemeClr val="bg2"/>
                </a:solidFill>
                <a:latin typeface="Arial"/>
                <a:cs typeface="Arial"/>
              </a:rPr>
              <a:t>xxxxx</a:t>
            </a:r>
            <a:endParaRPr lang="fr-FR" err="1">
              <a:solidFill>
                <a:schemeClr val="bg2"/>
              </a:solidFill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E52B9BE2-D1A4-4EFA-9BB4-C5E98EB4E155}"/>
              </a:ext>
            </a:extLst>
          </p:cNvPr>
          <p:cNvSpPr/>
          <p:nvPr/>
        </p:nvSpPr>
        <p:spPr bwMode="auto">
          <a:xfrm>
            <a:off x="3271768" y="3416616"/>
            <a:ext cx="2744365" cy="225485"/>
          </a:xfrm>
          <a:prstGeom prst="rect">
            <a:avLst/>
          </a:prstGeom>
          <a:solidFill>
            <a:srgbClr val="00B87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800" b="1" err="1">
                <a:solidFill>
                  <a:schemeClr val="bg1"/>
                </a:solidFill>
                <a:cs typeface="Arial"/>
              </a:rPr>
              <a:t>xxxxx</a:t>
            </a:r>
            <a:endParaRPr lang="fr-FR" err="1"/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1C93B794-5E05-4230-9FB4-495DB42D3F8E}"/>
              </a:ext>
            </a:extLst>
          </p:cNvPr>
          <p:cNvSpPr/>
          <p:nvPr/>
        </p:nvSpPr>
        <p:spPr bwMode="auto">
          <a:xfrm>
            <a:off x="2207194" y="1055150"/>
            <a:ext cx="3808939" cy="234593"/>
          </a:xfrm>
          <a:prstGeom prst="rect">
            <a:avLst/>
          </a:prstGeom>
          <a:solidFill>
            <a:srgbClr val="CCCC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650" b="1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33EC4000-441D-4E9B-A79C-46E83ACF3FCB}"/>
              </a:ext>
            </a:extLst>
          </p:cNvPr>
          <p:cNvSpPr/>
          <p:nvPr/>
        </p:nvSpPr>
        <p:spPr bwMode="auto">
          <a:xfrm>
            <a:off x="4951561" y="1798295"/>
            <a:ext cx="3065399" cy="229573"/>
          </a:xfrm>
          <a:prstGeom prst="rect">
            <a:avLst/>
          </a:prstGeom>
          <a:solidFill>
            <a:srgbClr val="27509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r>
              <a:rPr lang="fr-FR" sz="650" b="1" err="1">
                <a:solidFill>
                  <a:schemeClr val="bg2"/>
                </a:solidFill>
                <a:latin typeface="Arial"/>
                <a:cs typeface="Arial"/>
              </a:rPr>
              <a:t>xxxx</a:t>
            </a:r>
            <a:endParaRPr lang="fr-FR" err="1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0777E4DE-5597-493B-8737-03E16E6A1632}"/>
              </a:ext>
            </a:extLst>
          </p:cNvPr>
          <p:cNvSpPr/>
          <p:nvPr/>
        </p:nvSpPr>
        <p:spPr bwMode="auto">
          <a:xfrm>
            <a:off x="6142190" y="773642"/>
            <a:ext cx="1613447" cy="225485"/>
          </a:xfrm>
          <a:prstGeom prst="rect">
            <a:avLst/>
          </a:prstGeom>
          <a:solidFill>
            <a:srgbClr val="CCCC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650" b="1" err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xxxx</a:t>
            </a:r>
            <a:endParaRPr lang="fr-FR" err="1"/>
          </a:p>
        </p:txBody>
      </p:sp>
      <p:cxnSp>
        <p:nvCxnSpPr>
          <p:cNvPr id="106" name="Connecteur droit 105">
            <a:extLst>
              <a:ext uri="{FF2B5EF4-FFF2-40B4-BE49-F238E27FC236}">
                <a16:creationId xmlns:a16="http://schemas.microsoft.com/office/drawing/2014/main" id="{FB51C395-68B2-4E3E-A9EC-CDA21EB69644}"/>
              </a:ext>
            </a:extLst>
          </p:cNvPr>
          <p:cNvCxnSpPr>
            <a:cxnSpLocks/>
          </p:cNvCxnSpPr>
          <p:nvPr/>
        </p:nvCxnSpPr>
        <p:spPr>
          <a:xfrm>
            <a:off x="263852" y="1406315"/>
            <a:ext cx="8197396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ZoneTexte 106">
            <a:extLst>
              <a:ext uri="{FF2B5EF4-FFF2-40B4-BE49-F238E27FC236}">
                <a16:creationId xmlns:a16="http://schemas.microsoft.com/office/drawing/2014/main" id="{BDE17AFA-F3A7-451F-9101-B65232E218C0}"/>
              </a:ext>
            </a:extLst>
          </p:cNvPr>
          <p:cNvSpPr txBox="1"/>
          <p:nvPr/>
        </p:nvSpPr>
        <p:spPr>
          <a:xfrm>
            <a:off x="8309900" y="977095"/>
            <a:ext cx="699230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fr-FR" sz="1350" err="1">
                <a:solidFill>
                  <a:schemeClr val="bg1">
                    <a:lumMod val="50000"/>
                  </a:schemeClr>
                </a:solidFill>
              </a:rPr>
              <a:t>Studies</a:t>
            </a:r>
            <a:endParaRPr lang="fr-FR" sz="135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97C1049-D713-489A-8615-8A3838693019}"/>
              </a:ext>
            </a:extLst>
          </p:cNvPr>
          <p:cNvSpPr/>
          <p:nvPr/>
        </p:nvSpPr>
        <p:spPr bwMode="auto">
          <a:xfrm>
            <a:off x="558793" y="1048429"/>
            <a:ext cx="1615229" cy="234593"/>
          </a:xfrm>
          <a:prstGeom prst="rect">
            <a:avLst/>
          </a:prstGeom>
          <a:solidFill>
            <a:srgbClr val="CCCC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650" b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xxx</a:t>
            </a:r>
            <a:endParaRPr lang="fr-FR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4A6A439-55D1-4121-87E1-A989687D8685}"/>
              </a:ext>
            </a:extLst>
          </p:cNvPr>
          <p:cNvSpPr/>
          <p:nvPr/>
        </p:nvSpPr>
        <p:spPr bwMode="auto">
          <a:xfrm>
            <a:off x="2722893" y="1470097"/>
            <a:ext cx="1636951" cy="229573"/>
          </a:xfrm>
          <a:prstGeom prst="rect">
            <a:avLst/>
          </a:prstGeom>
          <a:solidFill>
            <a:srgbClr val="27509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r>
              <a:rPr lang="fr-FR" sz="650" b="1" err="1">
                <a:solidFill>
                  <a:schemeClr val="bg2"/>
                </a:solidFill>
                <a:latin typeface="Arial"/>
                <a:cs typeface="Arial"/>
              </a:rPr>
              <a:t>xxxxx</a:t>
            </a:r>
            <a:endParaRPr lang="fr-FR" err="1"/>
          </a:p>
        </p:txBody>
      </p:sp>
    </p:spTree>
    <p:extLst>
      <p:ext uri="{BB962C8B-B14F-4D97-AF65-F5344CB8AC3E}">
        <p14:creationId xmlns:p14="http://schemas.microsoft.com/office/powerpoint/2010/main" val="3101041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D8V5PHTQ.XAGbImBUy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 1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HAPITR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FIN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1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2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3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eab6618-a76e-4d6e-9d14-0fe206180005">
      <UserInfo>
        <DisplayName>Guillaume Hospital</DisplayName>
        <AccountId>542</AccountId>
        <AccountType/>
      </UserInfo>
      <UserInfo>
        <DisplayName>Benoit Aymard</DisplayName>
        <AccountId>571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B60DB42CD20EF439B52346E3789AA39" ma:contentTypeVersion="12" ma:contentTypeDescription="Create a new document." ma:contentTypeScope="" ma:versionID="eb74c8bbffb3e6f519c6737e3f48548f">
  <xsd:schema xmlns:xsd="http://www.w3.org/2001/XMLSchema" xmlns:xs="http://www.w3.org/2001/XMLSchema" xmlns:p="http://schemas.microsoft.com/office/2006/metadata/properties" xmlns:ns2="7eab6618-a76e-4d6e-9d14-0fe206180005" xmlns:ns3="a64c0a91-4351-4bdf-b3fa-de3ca15c4785" targetNamespace="http://schemas.microsoft.com/office/2006/metadata/properties" ma:root="true" ma:fieldsID="5bf1ff4c693c3f829fb0aec94676760a" ns2:_="" ns3:_="">
    <xsd:import namespace="7eab6618-a76e-4d6e-9d14-0fe206180005"/>
    <xsd:import namespace="a64c0a91-4351-4bdf-b3fa-de3ca15c478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ab6618-a76e-4d6e-9d14-0fe20618000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4c0a91-4351-4bdf-b3fa-de3ca15c478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Location" ma:index="14" nillable="true" ma:displayName="MediaServiceLocation" ma:internalName="MediaServiceLocatio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FC97AAC-D16A-478F-95B1-E9944B8633B3}">
  <ds:schemaRefs>
    <ds:schemaRef ds:uri="7eab6618-a76e-4d6e-9d14-0fe206180005"/>
    <ds:schemaRef ds:uri="a64c0a91-4351-4bdf-b3fa-de3ca15c478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0F13121-BDDE-4EEB-86A8-67CB8C4ABDB2}">
  <ds:schemaRefs>
    <ds:schemaRef ds:uri="7eab6618-a76e-4d6e-9d14-0fe206180005"/>
    <ds:schemaRef ds:uri="a64c0a91-4351-4bdf-b3fa-de3ca15c478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7345BF31-44AE-4465-BECF-E43C8C381DB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15</Words>
  <Application>Microsoft Macintosh PowerPoint</Application>
  <PresentationFormat>On-screen Show (16:9)</PresentationFormat>
  <Paragraphs>331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26" baseType="lpstr">
      <vt:lpstr>Aharoni</vt:lpstr>
      <vt:lpstr>Arial</vt:lpstr>
      <vt:lpstr>Calibri</vt:lpstr>
      <vt:lpstr>Calibri Light</vt:lpstr>
      <vt:lpstr>Lucida Grande</vt:lpstr>
      <vt:lpstr>Michelin</vt:lpstr>
      <vt:lpstr>Michelin Black</vt:lpstr>
      <vt:lpstr>Michelin SemiBold</vt:lpstr>
      <vt:lpstr>Rounded Elegance</vt:lpstr>
      <vt:lpstr>Times</vt:lpstr>
      <vt:lpstr>Wingdings</vt:lpstr>
      <vt:lpstr>Wingdings 3</vt:lpstr>
      <vt:lpstr>Wingdings,Sans-Serif</vt:lpstr>
      <vt:lpstr>SLIDE 1</vt:lpstr>
      <vt:lpstr>CHAPITRE</vt:lpstr>
      <vt:lpstr>CONTENU</vt:lpstr>
      <vt:lpstr>FIN</vt:lpstr>
      <vt:lpstr>1_CONTENU</vt:lpstr>
      <vt:lpstr>2_CONTENU</vt:lpstr>
      <vt:lpstr>3_CONTENU</vt:lpstr>
      <vt:lpstr>Diapositive think-cell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ward a digital Information system EA Steering, March 22nd</dc:title>
  <dc:creator>Eric Legendre</dc:creator>
  <cp:lastModifiedBy>Olivier Jauze</cp:lastModifiedBy>
  <cp:revision>3</cp:revision>
  <dcterms:modified xsi:type="dcterms:W3CDTF">2021-11-07T17:37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B60DB42CD20EF439B52346E3789AA39</vt:lpwstr>
  </property>
  <property fmtid="{D5CDD505-2E9C-101B-9397-08002B2CF9AE}" pid="3" name="MSIP_Label_09e9a456-2778-4ca9-be06-1190b1e1118a_Enabled">
    <vt:lpwstr>true</vt:lpwstr>
  </property>
  <property fmtid="{D5CDD505-2E9C-101B-9397-08002B2CF9AE}" pid="4" name="MSIP_Label_09e9a456-2778-4ca9-be06-1190b1e1118a_SetDate">
    <vt:lpwstr>2021-10-13T13:20:39Z</vt:lpwstr>
  </property>
  <property fmtid="{D5CDD505-2E9C-101B-9397-08002B2CF9AE}" pid="5" name="MSIP_Label_09e9a456-2778-4ca9-be06-1190b1e1118a_Method">
    <vt:lpwstr>Privileged</vt:lpwstr>
  </property>
  <property fmtid="{D5CDD505-2E9C-101B-9397-08002B2CF9AE}" pid="6" name="MSIP_Label_09e9a456-2778-4ca9-be06-1190b1e1118a_Name">
    <vt:lpwstr>D3</vt:lpwstr>
  </property>
  <property fmtid="{D5CDD505-2E9C-101B-9397-08002B2CF9AE}" pid="7" name="MSIP_Label_09e9a456-2778-4ca9-be06-1190b1e1118a_SiteId">
    <vt:lpwstr>658ba197-6c73-4fea-91bd-1c7d8de6bf2c</vt:lpwstr>
  </property>
  <property fmtid="{D5CDD505-2E9C-101B-9397-08002B2CF9AE}" pid="8" name="MSIP_Label_09e9a456-2778-4ca9-be06-1190b1e1118a_ActionId">
    <vt:lpwstr>500ec0d5-d633-4dfa-a0eb-ce83fbd0d137</vt:lpwstr>
  </property>
  <property fmtid="{D5CDD505-2E9C-101B-9397-08002B2CF9AE}" pid="9" name="MSIP_Label_09e9a456-2778-4ca9-be06-1190b1e1118a_ContentBits">
    <vt:lpwstr>0</vt:lpwstr>
  </property>
</Properties>
</file>